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3"/>
  </p:notesMasterIdLst>
  <p:handoutMasterIdLst>
    <p:handoutMasterId r:id="rId14"/>
  </p:handoutMasterIdLst>
  <p:sldIdLst>
    <p:sldId id="2387" r:id="rId5"/>
    <p:sldId id="2380" r:id="rId6"/>
    <p:sldId id="2381" r:id="rId7"/>
    <p:sldId id="2382" r:id="rId8"/>
    <p:sldId id="2383" r:id="rId9"/>
    <p:sldId id="2384" r:id="rId10"/>
    <p:sldId id="2385" r:id="rId11"/>
    <p:sldId id="2386" r:id="rId12"/>
  </p:sldIdLst>
  <p:sldSz cx="12192000" cy="6858000"/>
  <p:notesSz cx="7010400" cy="92360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36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F0A50F2-8B0F-FC6A-CC45-B5A3DBA47BD0}" name="Soman, Kathryn" initials="SK" userId="S::SOMANK@METROPLUS.ORG::710a74fc-c7d6-4eab-9a9f-a4597d00d87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962"/>
    <a:srgbClr val="FFCF31"/>
    <a:srgbClr val="A8D42E"/>
    <a:srgbClr val="FF00FF"/>
    <a:srgbClr val="FFD030"/>
    <a:srgbClr val="FFFFFF"/>
    <a:srgbClr val="D6DCE5"/>
    <a:srgbClr val="6496C8"/>
    <a:srgbClr val="00B0F0"/>
    <a:srgbClr val="DF8C3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38" autoAdjust="0"/>
    <p:restoredTop sz="94648" autoAdjust="0"/>
  </p:normalViewPr>
  <p:slideViewPr>
    <p:cSldViewPr snapToGrid="0">
      <p:cViewPr varScale="1">
        <p:scale>
          <a:sx n="105" d="100"/>
          <a:sy n="105" d="100"/>
        </p:scale>
        <p:origin x="840" y="96"/>
      </p:cViewPr>
      <p:guideLst>
        <p:guide orient="horz" pos="2136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4524" y="103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9B98E7C-94AA-4798-8ED6-B7BBE9FF525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340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D2BA09F-5DE1-4118-9AF1-B6E8B36F4FA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340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3E728F-C1D1-4DE2-8FDE-CE59FB448F0C}" type="datetimeFigureOut">
              <a:rPr lang="en-US" smtClean="0"/>
              <a:t>3/17/2026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5F73AE-4E50-4E54-B22A-EC533E34B64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772669"/>
            <a:ext cx="3037840" cy="46340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2D9F2C8-5EBC-4F74-8576-B0EE7B239AA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938" y="8772669"/>
            <a:ext cx="3037840" cy="46340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EE3292-D489-439B-BEB9-D6D6121B1AD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09655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340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340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906093-3C15-42AB-A6C7-2A2044BF3402}" type="datetimeFigureOut">
              <a:rPr lang="en-US" smtClean="0"/>
              <a:t>3/17/202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44861"/>
            <a:ext cx="5608320" cy="36367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37840" cy="46340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772669"/>
            <a:ext cx="3037840" cy="46340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E9FD2B2-880E-43AD-A483-CD417FDBCBE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02297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0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8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991DF6A-7476-8374-397C-66D014EF3017}"/>
              </a:ext>
            </a:extLst>
          </p:cNvPr>
          <p:cNvSpPr/>
          <p:nvPr userDrawn="1"/>
        </p:nvSpPr>
        <p:spPr>
          <a:xfrm>
            <a:off x="0" y="-7"/>
            <a:ext cx="12192000" cy="625758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BCAD76A-447F-F7F2-0A6A-07254FB8730D}"/>
              </a:ext>
            </a:extLst>
          </p:cNvPr>
          <p:cNvSpPr/>
          <p:nvPr userDrawn="1"/>
        </p:nvSpPr>
        <p:spPr>
          <a:xfrm>
            <a:off x="4663736" y="-8"/>
            <a:ext cx="7528264" cy="6858007"/>
          </a:xfrm>
          <a:custGeom>
            <a:avLst/>
            <a:gdLst>
              <a:gd name="connsiteX0" fmla="*/ 5637321 w 7528264"/>
              <a:gd name="connsiteY0" fmla="*/ 0 h 6889072"/>
              <a:gd name="connsiteX1" fmla="*/ 2024109 w 7528264"/>
              <a:gd name="connsiteY1" fmla="*/ 5024761 h 6889072"/>
              <a:gd name="connsiteX2" fmla="*/ 958789 w 7528264"/>
              <a:gd name="connsiteY2" fmla="*/ 3524435 h 6889072"/>
              <a:gd name="connsiteX3" fmla="*/ 0 w 7528264"/>
              <a:gd name="connsiteY3" fmla="*/ 4829453 h 6889072"/>
              <a:gd name="connsiteX4" fmla="*/ 1447061 w 7528264"/>
              <a:gd name="connsiteY4" fmla="*/ 6889072 h 6889072"/>
              <a:gd name="connsiteX5" fmla="*/ 2645546 w 7528264"/>
              <a:gd name="connsiteY5" fmla="*/ 6880195 h 6889072"/>
              <a:gd name="connsiteX6" fmla="*/ 7528264 w 7528264"/>
              <a:gd name="connsiteY6" fmla="*/ 0 h 6889072"/>
              <a:gd name="connsiteX7" fmla="*/ 5637321 w 7528264"/>
              <a:gd name="connsiteY7" fmla="*/ 0 h 688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8264" h="6889072">
                <a:moveTo>
                  <a:pt x="5637321" y="0"/>
                </a:moveTo>
                <a:lnTo>
                  <a:pt x="2024109" y="5024761"/>
                </a:lnTo>
                <a:lnTo>
                  <a:pt x="958789" y="3524435"/>
                </a:lnTo>
                <a:lnTo>
                  <a:pt x="0" y="4829453"/>
                </a:lnTo>
                <a:lnTo>
                  <a:pt x="1447061" y="6889072"/>
                </a:lnTo>
                <a:lnTo>
                  <a:pt x="2645546" y="6880195"/>
                </a:lnTo>
                <a:lnTo>
                  <a:pt x="7528264" y="0"/>
                </a:lnTo>
                <a:lnTo>
                  <a:pt x="5637321" y="0"/>
                </a:lnTo>
                <a:close/>
              </a:path>
            </a:pathLst>
          </a:custGeom>
          <a:solidFill>
            <a:srgbClr val="FFD9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811C99-6DCF-1B2B-68E3-31F3A940648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2707" y="2401677"/>
            <a:ext cx="7358930" cy="1348802"/>
          </a:xfrm>
        </p:spPr>
        <p:txBody>
          <a:bodyPr/>
          <a:lstStyle>
            <a:lvl1pPr>
              <a:defRPr sz="44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TITLE OF PRESENTATIO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C600C45-84BF-667F-60D3-94DEE0A476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2706" y="4145092"/>
            <a:ext cx="7358930" cy="44267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Subhead and / or meeting nam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213A3FE-3464-A4E0-20B7-C4EB2EA800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2705" y="4685690"/>
            <a:ext cx="7358930" cy="442675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 dirty="0"/>
              <a:t>Dat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C22D045-F2E9-3340-0E64-E03750416538}"/>
              </a:ext>
            </a:extLst>
          </p:cNvPr>
          <p:cNvCxnSpPr>
            <a:cxnSpLocks/>
          </p:cNvCxnSpPr>
          <p:nvPr userDrawn="1"/>
        </p:nvCxnSpPr>
        <p:spPr>
          <a:xfrm>
            <a:off x="462706" y="6081408"/>
            <a:ext cx="11445458" cy="0"/>
          </a:xfrm>
          <a:prstGeom prst="line">
            <a:avLst/>
          </a:prstGeom>
          <a:ln w="38100"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68779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118282"/>
            <a:ext cx="11338560" cy="492125"/>
          </a:xfrm>
        </p:spPr>
        <p:txBody>
          <a:bodyPr anchor="ctr"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cap="all" baseline="0"/>
            </a:lvl1pPr>
          </a:lstStyle>
          <a:p>
            <a:r>
              <a:rPr lang="en-US" dirty="0"/>
              <a:t>Multimedia Slide</a:t>
            </a:r>
          </a:p>
        </p:txBody>
      </p:sp>
      <p:sp>
        <p:nvSpPr>
          <p:cNvPr id="20" name="Rectangle 19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1" name="Rectangle 20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2" name="Rectangle 2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3" name="Rectangle 22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4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B9C91F6-19A4-60D8-C2FA-A0CB4D8E4B9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652610"/>
            <a:ext cx="11338560" cy="43402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57300" indent="-3429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19252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range title 1">
            <a:extLst>
              <a:ext uri="{FF2B5EF4-FFF2-40B4-BE49-F238E27FC236}">
                <a16:creationId xmlns:a16="http://schemas.microsoft.com/office/drawing/2014/main" id="{4736416D-EB4F-4346-8783-FC896DC0CA6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84515" y="3868738"/>
            <a:ext cx="10628960" cy="457200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subhead in 16 pt orange | Max two lines</a:t>
            </a:r>
          </a:p>
        </p:txBody>
      </p:sp>
      <p:sp>
        <p:nvSpPr>
          <p:cNvPr id="10" name="Circle 1"/>
          <p:cNvSpPr>
            <a:spLocks noGrp="1"/>
          </p:cNvSpPr>
          <p:nvPr>
            <p:ph type="body" sz="quarter" idx="14" hasCustomPrompt="1"/>
          </p:nvPr>
        </p:nvSpPr>
        <p:spPr>
          <a:xfrm>
            <a:off x="5163312" y="1828800"/>
            <a:ext cx="1865376" cy="1866900"/>
          </a:xfrm>
          <a:prstGeom prst="ellipse">
            <a:avLst/>
          </a:prstGeom>
          <a:ln w="19050">
            <a:solidFill>
              <a:srgbClr val="FFD030"/>
            </a:solidFill>
          </a:ln>
        </p:spPr>
        <p:txBody>
          <a:bodyPr anchor="ctr"/>
          <a:lstStyle>
            <a:lvl1pPr algn="ctr">
              <a:buNone/>
              <a:defRPr sz="12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dirty="0"/>
              <a:t>Place icon here. To hide this text, place cursor then hit space bar. Duplicate or delete as needed.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118282"/>
            <a:ext cx="11338560" cy="492125"/>
          </a:xfrm>
        </p:spPr>
        <p:txBody>
          <a:bodyPr anchor="ctr"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cap="all" baseline="0"/>
            </a:lvl1pPr>
          </a:lstStyle>
          <a:p>
            <a:r>
              <a:rPr lang="en-US" dirty="0"/>
              <a:t>One Icon Layout</a:t>
            </a:r>
          </a:p>
        </p:txBody>
      </p:sp>
      <p:sp>
        <p:nvSpPr>
          <p:cNvPr id="20" name="Rectangle 19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1" name="Rectangle 20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2" name="Rectangle 2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3" name="Rectangle 22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4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741F8632-57B2-5648-DB17-D31A1B2360BD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784512" y="4401689"/>
            <a:ext cx="10628959" cy="1548944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969757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range title 1">
            <a:extLst>
              <a:ext uri="{FF2B5EF4-FFF2-40B4-BE49-F238E27FC236}">
                <a16:creationId xmlns:a16="http://schemas.microsoft.com/office/drawing/2014/main" id="{4736416D-EB4F-4346-8783-FC896DC0CA6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84514" y="3868738"/>
            <a:ext cx="4977306" cy="457200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subhead in 16 pt orange | Max two lines</a:t>
            </a:r>
          </a:p>
        </p:txBody>
      </p:sp>
      <p:sp>
        <p:nvSpPr>
          <p:cNvPr id="18" name="Orange title 2">
            <a:extLst>
              <a:ext uri="{FF2B5EF4-FFF2-40B4-BE49-F238E27FC236}">
                <a16:creationId xmlns:a16="http://schemas.microsoft.com/office/drawing/2014/main" id="{5BAB981D-A627-42CC-B2DE-02C26E3DF94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30182" y="3865340"/>
            <a:ext cx="4977308" cy="457200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subhead in 16 pt orange | Max two lines</a:t>
            </a:r>
          </a:p>
        </p:txBody>
      </p:sp>
      <p:sp>
        <p:nvSpPr>
          <p:cNvPr id="11" name="Circle 2"/>
          <p:cNvSpPr>
            <a:spLocks noGrp="1"/>
          </p:cNvSpPr>
          <p:nvPr>
            <p:ph type="body" sz="quarter" idx="15" hasCustomPrompt="1"/>
          </p:nvPr>
        </p:nvSpPr>
        <p:spPr>
          <a:xfrm>
            <a:off x="7986148" y="1828800"/>
            <a:ext cx="1865376" cy="1866900"/>
          </a:xfrm>
          <a:prstGeom prst="ellipse">
            <a:avLst/>
          </a:prstGeom>
          <a:ln w="19050">
            <a:solidFill>
              <a:srgbClr val="FFD030"/>
            </a:solidFill>
          </a:ln>
        </p:spPr>
        <p:txBody>
          <a:bodyPr anchor="ctr"/>
          <a:lstStyle>
            <a:lvl1pPr algn="ctr">
              <a:buNone/>
              <a:defRPr sz="12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dirty="0"/>
              <a:t>Place icon here. To hide this text, place cursor then hit space bar. Duplicate or delete as needed.</a:t>
            </a:r>
          </a:p>
        </p:txBody>
      </p:sp>
      <p:sp>
        <p:nvSpPr>
          <p:cNvPr id="10" name="Circle 1"/>
          <p:cNvSpPr>
            <a:spLocks noGrp="1"/>
          </p:cNvSpPr>
          <p:nvPr>
            <p:ph type="body" sz="quarter" idx="14" hasCustomPrompt="1"/>
          </p:nvPr>
        </p:nvSpPr>
        <p:spPr>
          <a:xfrm>
            <a:off x="2340478" y="1828800"/>
            <a:ext cx="1865376" cy="1866900"/>
          </a:xfrm>
          <a:prstGeom prst="ellipse">
            <a:avLst/>
          </a:prstGeom>
          <a:ln w="19050">
            <a:solidFill>
              <a:srgbClr val="FFD030"/>
            </a:solidFill>
          </a:ln>
        </p:spPr>
        <p:txBody>
          <a:bodyPr anchor="ctr"/>
          <a:lstStyle>
            <a:lvl1pPr algn="ctr">
              <a:buNone/>
              <a:defRPr sz="12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dirty="0"/>
              <a:t>Place icon here. To hide this text, place cursor then hit space bar. Duplicate or delete as needed.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118282"/>
            <a:ext cx="11338560" cy="492125"/>
          </a:xfrm>
        </p:spPr>
        <p:txBody>
          <a:bodyPr anchor="ctr"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cap="all" baseline="0"/>
            </a:lvl1pPr>
          </a:lstStyle>
          <a:p>
            <a:r>
              <a:rPr lang="en-US" dirty="0"/>
              <a:t>Two Icons layout</a:t>
            </a:r>
          </a:p>
        </p:txBody>
      </p:sp>
      <p:sp>
        <p:nvSpPr>
          <p:cNvPr id="20" name="Rectangle 19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1" name="Rectangle 20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2" name="Rectangle 2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3" name="Rectangle 22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4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C6C14E0A-FF23-51E3-9DFF-15FEF58154A7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784510" y="4401689"/>
            <a:ext cx="4977309" cy="1548944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8ADC5170-75F4-51FC-412C-B1A10CBA2C2D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430181" y="4401689"/>
            <a:ext cx="4977309" cy="1548944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9434236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range title 1">
            <a:extLst>
              <a:ext uri="{FF2B5EF4-FFF2-40B4-BE49-F238E27FC236}">
                <a16:creationId xmlns:a16="http://schemas.microsoft.com/office/drawing/2014/main" id="{4736416D-EB4F-4346-8783-FC896DC0CA6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84514" y="3868738"/>
            <a:ext cx="3335482" cy="457200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subhead in 16 pt orange | Max two lines</a:t>
            </a:r>
          </a:p>
        </p:txBody>
      </p:sp>
      <p:sp>
        <p:nvSpPr>
          <p:cNvPr id="18" name="Orange title 2">
            <a:extLst>
              <a:ext uri="{FF2B5EF4-FFF2-40B4-BE49-F238E27FC236}">
                <a16:creationId xmlns:a16="http://schemas.microsoft.com/office/drawing/2014/main" id="{5BAB981D-A627-42CC-B2DE-02C26E3DF94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36843" y="3865340"/>
            <a:ext cx="3335482" cy="457200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subhead in 16 pt orange | Max two lines</a:t>
            </a:r>
          </a:p>
        </p:txBody>
      </p:sp>
      <p:sp>
        <p:nvSpPr>
          <p:cNvPr id="19" name="Orange title 3">
            <a:extLst>
              <a:ext uri="{FF2B5EF4-FFF2-40B4-BE49-F238E27FC236}">
                <a16:creationId xmlns:a16="http://schemas.microsoft.com/office/drawing/2014/main" id="{E65F5722-9D51-4EC9-BA8C-FDC59DB8463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75761" y="3865340"/>
            <a:ext cx="3335482" cy="457200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subhead in 16 pt orange | Max two lines</a:t>
            </a:r>
          </a:p>
        </p:txBody>
      </p:sp>
      <p:sp>
        <p:nvSpPr>
          <p:cNvPr id="12" name="Circle 3"/>
          <p:cNvSpPr>
            <a:spLocks noGrp="1"/>
          </p:cNvSpPr>
          <p:nvPr>
            <p:ph type="body" sz="quarter" idx="16" hasCustomPrompt="1"/>
          </p:nvPr>
        </p:nvSpPr>
        <p:spPr>
          <a:xfrm>
            <a:off x="8910814" y="1828800"/>
            <a:ext cx="1865376" cy="1866900"/>
          </a:xfrm>
          <a:prstGeom prst="ellipse">
            <a:avLst/>
          </a:prstGeom>
          <a:ln w="19050">
            <a:solidFill>
              <a:srgbClr val="FFD030"/>
            </a:solidFill>
          </a:ln>
        </p:spPr>
        <p:txBody>
          <a:bodyPr anchor="ctr"/>
          <a:lstStyle>
            <a:lvl1pPr algn="ctr">
              <a:buNone/>
              <a:defRPr sz="12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dirty="0"/>
              <a:t>Place icon here. To hide this text, place cursor then hit space bar. Duplicate or delete as needed.</a:t>
            </a:r>
          </a:p>
        </p:txBody>
      </p:sp>
      <p:sp>
        <p:nvSpPr>
          <p:cNvPr id="11" name="Circle 2"/>
          <p:cNvSpPr>
            <a:spLocks noGrp="1"/>
          </p:cNvSpPr>
          <p:nvPr>
            <p:ph type="body" sz="quarter" idx="15" hasCustomPrompt="1"/>
          </p:nvPr>
        </p:nvSpPr>
        <p:spPr>
          <a:xfrm>
            <a:off x="5171896" y="1828800"/>
            <a:ext cx="1865376" cy="1866900"/>
          </a:xfrm>
          <a:prstGeom prst="ellipse">
            <a:avLst/>
          </a:prstGeom>
          <a:ln w="19050">
            <a:solidFill>
              <a:srgbClr val="FFD030"/>
            </a:solidFill>
          </a:ln>
        </p:spPr>
        <p:txBody>
          <a:bodyPr anchor="ctr"/>
          <a:lstStyle>
            <a:lvl1pPr algn="ctr">
              <a:buNone/>
              <a:defRPr sz="12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dirty="0"/>
              <a:t>Place icon here. To hide this text, place cursor then hit space bar. Duplicate or delete as needed.</a:t>
            </a:r>
          </a:p>
        </p:txBody>
      </p:sp>
      <p:sp>
        <p:nvSpPr>
          <p:cNvPr id="10" name="Circle 1"/>
          <p:cNvSpPr>
            <a:spLocks noGrp="1"/>
          </p:cNvSpPr>
          <p:nvPr>
            <p:ph type="body" sz="quarter" idx="14" hasCustomPrompt="1"/>
          </p:nvPr>
        </p:nvSpPr>
        <p:spPr>
          <a:xfrm>
            <a:off x="1519566" y="1828800"/>
            <a:ext cx="1865376" cy="1866900"/>
          </a:xfrm>
          <a:prstGeom prst="ellipse">
            <a:avLst/>
          </a:prstGeom>
          <a:ln w="19050">
            <a:solidFill>
              <a:srgbClr val="FFD030"/>
            </a:solidFill>
          </a:ln>
        </p:spPr>
        <p:txBody>
          <a:bodyPr anchor="ctr"/>
          <a:lstStyle>
            <a:lvl1pPr algn="ctr">
              <a:buNone/>
              <a:defRPr sz="12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dirty="0"/>
              <a:t>Place icon here. To hide this text, place cursor then hit space bar. Duplicate or delete as needed.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118282"/>
            <a:ext cx="11338560" cy="492125"/>
          </a:xfrm>
        </p:spPr>
        <p:txBody>
          <a:bodyPr anchor="ctr"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cap="all" baseline="0"/>
            </a:lvl1pPr>
          </a:lstStyle>
          <a:p>
            <a:r>
              <a:rPr lang="en-US" dirty="0"/>
              <a:t>Three Icons Layout</a:t>
            </a:r>
          </a:p>
        </p:txBody>
      </p:sp>
      <p:sp>
        <p:nvSpPr>
          <p:cNvPr id="20" name="Rectangle 19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1" name="Rectangle 20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2" name="Rectangle 2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3" name="Rectangle 22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4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D5E607CF-7910-12BC-6C4E-638DE184539B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784513" y="4401689"/>
            <a:ext cx="3335482" cy="1548944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EAB7BC15-283C-76D1-D94B-9B00A084DD44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4436843" y="4401689"/>
            <a:ext cx="3335482" cy="1548944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8C38E2C0-FE94-07B5-BE55-E2EE5CF2D038}"/>
              </a:ext>
            </a:extLst>
          </p:cNvPr>
          <p:cNvSpPr>
            <a:spLocks noGrp="1"/>
          </p:cNvSpPr>
          <p:nvPr>
            <p:ph idx="27"/>
          </p:nvPr>
        </p:nvSpPr>
        <p:spPr>
          <a:xfrm>
            <a:off x="8175761" y="4401689"/>
            <a:ext cx="3335482" cy="1548944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1001512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9FE4E1-3388-5ACB-7650-0E26E3468C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VERTICAL LIS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7E94348-AFAD-F88C-9054-6A6165BBAFC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4EED3D-B130-481A-8ECD-A0040EAC36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B0F2177-8333-9201-87A4-C9215311BDB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03860" y="1486173"/>
            <a:ext cx="2738482" cy="661987"/>
          </a:xfrm>
        </p:spPr>
        <p:txBody>
          <a:bodyPr anchor="ctr"/>
          <a:lstStyle>
            <a:lvl1pPr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5FEAF28F-78B4-B6EF-BD99-8412684CD6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03860" y="2395222"/>
            <a:ext cx="2738482" cy="661987"/>
          </a:xfrm>
        </p:spPr>
        <p:txBody>
          <a:bodyPr anchor="ctr"/>
          <a:lstStyle>
            <a:lvl1pPr>
              <a:defRPr sz="1600" b="1"/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580B912B-E60C-F762-28E1-AE422AAEDB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03860" y="3327402"/>
            <a:ext cx="2738482" cy="661987"/>
          </a:xfrm>
        </p:spPr>
        <p:txBody>
          <a:bodyPr anchor="ctr"/>
          <a:lstStyle>
            <a:lvl1pPr>
              <a:defRPr sz="1600" b="1"/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5E2A2DBD-3835-67C1-E774-A198D35AB90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03860" y="4252887"/>
            <a:ext cx="2738482" cy="661987"/>
          </a:xfrm>
        </p:spPr>
        <p:txBody>
          <a:bodyPr anchor="ctr"/>
          <a:lstStyle>
            <a:lvl1pPr>
              <a:defRPr sz="1600" b="1"/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3CA19730-6879-0947-905D-D3BB8565C21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03860" y="5178372"/>
            <a:ext cx="2738482" cy="661987"/>
          </a:xfrm>
        </p:spPr>
        <p:txBody>
          <a:bodyPr anchor="ctr"/>
          <a:lstStyle>
            <a:lvl1pPr>
              <a:defRPr sz="1600" b="1"/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D7372EE8-9B02-A6A1-4A34-8CB0D60E778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51777" y="1486173"/>
            <a:ext cx="6983152" cy="661987"/>
          </a:xfrm>
        </p:spPr>
        <p:txBody>
          <a:bodyPr anchor="ctr"/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tem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7D520B24-367F-0DDE-83F4-4DC71E9474E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51777" y="2395222"/>
            <a:ext cx="6983152" cy="661987"/>
          </a:xfrm>
        </p:spPr>
        <p:txBody>
          <a:bodyPr anchor="ctr"/>
          <a:lstStyle>
            <a:lvl1pPr>
              <a:defRPr sz="1400" b="1"/>
            </a:lvl1pPr>
          </a:lstStyle>
          <a:p>
            <a:pPr lvl="0"/>
            <a:r>
              <a:rPr lang="en-US" dirty="0"/>
              <a:t>Item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0ACA517B-F372-66FF-9DE0-25278FFD7E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51777" y="3327402"/>
            <a:ext cx="6983152" cy="661987"/>
          </a:xfrm>
        </p:spPr>
        <p:txBody>
          <a:bodyPr anchor="ctr"/>
          <a:lstStyle>
            <a:lvl1pPr>
              <a:defRPr sz="1400" b="1"/>
            </a:lvl1pPr>
          </a:lstStyle>
          <a:p>
            <a:pPr lvl="0"/>
            <a:r>
              <a:rPr lang="en-US" dirty="0"/>
              <a:t>Item</a:t>
            </a:r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3FBA1BBF-F7E2-3DBD-5A44-B259A8540E8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51776" y="4252887"/>
            <a:ext cx="6983151" cy="661987"/>
          </a:xfrm>
        </p:spPr>
        <p:txBody>
          <a:bodyPr anchor="ctr"/>
          <a:lstStyle>
            <a:lvl1pPr>
              <a:defRPr sz="1400" b="1"/>
            </a:lvl1pPr>
          </a:lstStyle>
          <a:p>
            <a:pPr lvl="0"/>
            <a:r>
              <a:rPr lang="en-US" dirty="0"/>
              <a:t>Item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45F4AA2E-E3D4-41D3-15C5-86255377980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51777" y="5178372"/>
            <a:ext cx="6983150" cy="661987"/>
          </a:xfrm>
        </p:spPr>
        <p:txBody>
          <a:bodyPr anchor="ctr"/>
          <a:lstStyle>
            <a:lvl1pPr>
              <a:defRPr sz="1400" b="1"/>
            </a:lvl1pPr>
          </a:lstStyle>
          <a:p>
            <a:pPr lvl="0"/>
            <a:r>
              <a:rPr lang="en-US" dirty="0"/>
              <a:t>Item</a:t>
            </a:r>
          </a:p>
        </p:txBody>
      </p:sp>
    </p:spTree>
    <p:extLst>
      <p:ext uri="{BB962C8B-B14F-4D97-AF65-F5344CB8AC3E}">
        <p14:creationId xmlns:p14="http://schemas.microsoft.com/office/powerpoint/2010/main" val="245328986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 List 2 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range title 1">
            <a:extLst>
              <a:ext uri="{FF2B5EF4-FFF2-40B4-BE49-F238E27FC236}">
                <a16:creationId xmlns:a16="http://schemas.microsoft.com/office/drawing/2014/main" id="{4736416D-EB4F-4346-8783-FC896DC0CA6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8412" y="3159730"/>
            <a:ext cx="5003222" cy="453802"/>
          </a:xfr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tem 1</a:t>
            </a:r>
          </a:p>
        </p:txBody>
      </p:sp>
      <p:sp>
        <p:nvSpPr>
          <p:cNvPr id="18" name="Orange title 2">
            <a:extLst>
              <a:ext uri="{FF2B5EF4-FFF2-40B4-BE49-F238E27FC236}">
                <a16:creationId xmlns:a16="http://schemas.microsoft.com/office/drawing/2014/main" id="{5BAB981D-A627-42CC-B2DE-02C26E3DF94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42230" y="3156332"/>
            <a:ext cx="5003221" cy="457200"/>
          </a:xfr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tem 2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cap="all" baseline="0"/>
            </a:lvl1pPr>
          </a:lstStyle>
          <a:p>
            <a:r>
              <a:rPr lang="en-US" dirty="0"/>
              <a:t>Horizontal List (2 Items)</a:t>
            </a:r>
          </a:p>
        </p:txBody>
      </p:sp>
      <p:sp>
        <p:nvSpPr>
          <p:cNvPr id="20" name="Rectangle 19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1" name="Rectangle 20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2" name="Rectangle 2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3" name="Rectangle 22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4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29" name="Google Shape;92;p16">
            <a:extLst>
              <a:ext uri="{FF2B5EF4-FFF2-40B4-BE49-F238E27FC236}">
                <a16:creationId xmlns:a16="http://schemas.microsoft.com/office/drawing/2014/main" id="{DBFC533B-843A-7CAF-D3DE-EBF4117677F4}"/>
              </a:ext>
            </a:extLst>
          </p:cNvPr>
          <p:cNvCxnSpPr>
            <a:cxnSpLocks/>
          </p:cNvCxnSpPr>
          <p:nvPr userDrawn="1"/>
        </p:nvCxnSpPr>
        <p:spPr>
          <a:xfrm>
            <a:off x="718412" y="3027807"/>
            <a:ext cx="10726585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1EEDCC69-40C2-C8C9-991A-8C97D34FC81A}"/>
              </a:ext>
            </a:extLst>
          </p:cNvPr>
          <p:cNvSpPr/>
          <p:nvPr userDrawn="1"/>
        </p:nvSpPr>
        <p:spPr>
          <a:xfrm>
            <a:off x="2759933" y="1660275"/>
            <a:ext cx="920180" cy="838254"/>
          </a:xfrm>
          <a:custGeom>
            <a:avLst/>
            <a:gdLst>
              <a:gd name="connsiteX0" fmla="*/ 5637321 w 7528264"/>
              <a:gd name="connsiteY0" fmla="*/ 0 h 6889072"/>
              <a:gd name="connsiteX1" fmla="*/ 2024109 w 7528264"/>
              <a:gd name="connsiteY1" fmla="*/ 5024761 h 6889072"/>
              <a:gd name="connsiteX2" fmla="*/ 958789 w 7528264"/>
              <a:gd name="connsiteY2" fmla="*/ 3524435 h 6889072"/>
              <a:gd name="connsiteX3" fmla="*/ 0 w 7528264"/>
              <a:gd name="connsiteY3" fmla="*/ 4829453 h 6889072"/>
              <a:gd name="connsiteX4" fmla="*/ 1447061 w 7528264"/>
              <a:gd name="connsiteY4" fmla="*/ 6889072 h 6889072"/>
              <a:gd name="connsiteX5" fmla="*/ 2645546 w 7528264"/>
              <a:gd name="connsiteY5" fmla="*/ 6880195 h 6889072"/>
              <a:gd name="connsiteX6" fmla="*/ 7528264 w 7528264"/>
              <a:gd name="connsiteY6" fmla="*/ 0 h 6889072"/>
              <a:gd name="connsiteX7" fmla="*/ 5637321 w 7528264"/>
              <a:gd name="connsiteY7" fmla="*/ 0 h 688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8264" h="6889072">
                <a:moveTo>
                  <a:pt x="5637321" y="0"/>
                </a:moveTo>
                <a:lnTo>
                  <a:pt x="2024109" y="5024761"/>
                </a:lnTo>
                <a:lnTo>
                  <a:pt x="958789" y="3524435"/>
                </a:lnTo>
                <a:lnTo>
                  <a:pt x="0" y="4829453"/>
                </a:lnTo>
                <a:lnTo>
                  <a:pt x="1447061" y="6889072"/>
                </a:lnTo>
                <a:lnTo>
                  <a:pt x="2645546" y="6880195"/>
                </a:lnTo>
                <a:lnTo>
                  <a:pt x="7528264" y="0"/>
                </a:lnTo>
                <a:lnTo>
                  <a:pt x="563732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2FC7FFEC-8646-5052-B846-495DF693B6A2}"/>
              </a:ext>
            </a:extLst>
          </p:cNvPr>
          <p:cNvSpPr/>
          <p:nvPr userDrawn="1"/>
        </p:nvSpPr>
        <p:spPr>
          <a:xfrm>
            <a:off x="8483750" y="1660275"/>
            <a:ext cx="920180" cy="838254"/>
          </a:xfrm>
          <a:custGeom>
            <a:avLst/>
            <a:gdLst>
              <a:gd name="connsiteX0" fmla="*/ 5637321 w 7528264"/>
              <a:gd name="connsiteY0" fmla="*/ 0 h 6889072"/>
              <a:gd name="connsiteX1" fmla="*/ 2024109 w 7528264"/>
              <a:gd name="connsiteY1" fmla="*/ 5024761 h 6889072"/>
              <a:gd name="connsiteX2" fmla="*/ 958789 w 7528264"/>
              <a:gd name="connsiteY2" fmla="*/ 3524435 h 6889072"/>
              <a:gd name="connsiteX3" fmla="*/ 0 w 7528264"/>
              <a:gd name="connsiteY3" fmla="*/ 4829453 h 6889072"/>
              <a:gd name="connsiteX4" fmla="*/ 1447061 w 7528264"/>
              <a:gd name="connsiteY4" fmla="*/ 6889072 h 6889072"/>
              <a:gd name="connsiteX5" fmla="*/ 2645546 w 7528264"/>
              <a:gd name="connsiteY5" fmla="*/ 6880195 h 6889072"/>
              <a:gd name="connsiteX6" fmla="*/ 7528264 w 7528264"/>
              <a:gd name="connsiteY6" fmla="*/ 0 h 6889072"/>
              <a:gd name="connsiteX7" fmla="*/ 5637321 w 7528264"/>
              <a:gd name="connsiteY7" fmla="*/ 0 h 688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8264" h="6889072">
                <a:moveTo>
                  <a:pt x="5637321" y="0"/>
                </a:moveTo>
                <a:lnTo>
                  <a:pt x="2024109" y="5024761"/>
                </a:lnTo>
                <a:lnTo>
                  <a:pt x="958789" y="3524435"/>
                </a:lnTo>
                <a:lnTo>
                  <a:pt x="0" y="4829453"/>
                </a:lnTo>
                <a:lnTo>
                  <a:pt x="1447061" y="6889072"/>
                </a:lnTo>
                <a:lnTo>
                  <a:pt x="2645546" y="6880195"/>
                </a:lnTo>
                <a:lnTo>
                  <a:pt x="7528264" y="0"/>
                </a:lnTo>
                <a:lnTo>
                  <a:pt x="563732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1C421DA-83C6-D8D5-B207-18A776C66B50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718412" y="3734719"/>
            <a:ext cx="5003222" cy="221438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Content Placeholder 4">
            <a:extLst>
              <a:ext uri="{FF2B5EF4-FFF2-40B4-BE49-F238E27FC236}">
                <a16:creationId xmlns:a16="http://schemas.microsoft.com/office/drawing/2014/main" id="{489DF4A1-BEBF-FE62-A36F-81892765A293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6442231" y="3734719"/>
            <a:ext cx="5003220" cy="221438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317634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 List 3 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range title 1">
            <a:extLst>
              <a:ext uri="{FF2B5EF4-FFF2-40B4-BE49-F238E27FC236}">
                <a16:creationId xmlns:a16="http://schemas.microsoft.com/office/drawing/2014/main" id="{4736416D-EB4F-4346-8783-FC896DC0CA6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8412" y="3159730"/>
            <a:ext cx="3335482" cy="453802"/>
          </a:xfr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tem 1</a:t>
            </a:r>
          </a:p>
        </p:txBody>
      </p:sp>
      <p:sp>
        <p:nvSpPr>
          <p:cNvPr id="18" name="Orange title 2">
            <a:extLst>
              <a:ext uri="{FF2B5EF4-FFF2-40B4-BE49-F238E27FC236}">
                <a16:creationId xmlns:a16="http://schemas.microsoft.com/office/drawing/2014/main" id="{5BAB981D-A627-42CC-B2DE-02C26E3DF94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70741" y="3156332"/>
            <a:ext cx="3335482" cy="457200"/>
          </a:xfr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tem 2</a:t>
            </a:r>
          </a:p>
        </p:txBody>
      </p:sp>
      <p:sp>
        <p:nvSpPr>
          <p:cNvPr id="19" name="Orange title 3">
            <a:extLst>
              <a:ext uri="{FF2B5EF4-FFF2-40B4-BE49-F238E27FC236}">
                <a16:creationId xmlns:a16="http://schemas.microsoft.com/office/drawing/2014/main" id="{E65F5722-9D51-4EC9-BA8C-FDC59DB8463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09659" y="3156332"/>
            <a:ext cx="3335482" cy="457200"/>
          </a:xfr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tem 3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cap="all" baseline="0"/>
            </a:lvl1pPr>
          </a:lstStyle>
          <a:p>
            <a:r>
              <a:rPr lang="en-US" dirty="0"/>
              <a:t>Horizontal List (3 Items)</a:t>
            </a:r>
          </a:p>
        </p:txBody>
      </p:sp>
      <p:sp>
        <p:nvSpPr>
          <p:cNvPr id="20" name="Rectangle 19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1" name="Rectangle 20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2" name="Rectangle 2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3" name="Rectangle 22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4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29" name="Google Shape;92;p16">
            <a:extLst>
              <a:ext uri="{FF2B5EF4-FFF2-40B4-BE49-F238E27FC236}">
                <a16:creationId xmlns:a16="http://schemas.microsoft.com/office/drawing/2014/main" id="{DBFC533B-843A-7CAF-D3DE-EBF4117677F4}"/>
              </a:ext>
            </a:extLst>
          </p:cNvPr>
          <p:cNvCxnSpPr>
            <a:cxnSpLocks/>
          </p:cNvCxnSpPr>
          <p:nvPr userDrawn="1"/>
        </p:nvCxnSpPr>
        <p:spPr>
          <a:xfrm>
            <a:off x="718412" y="3027807"/>
            <a:ext cx="10726585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1EEDCC69-40C2-C8C9-991A-8C97D34FC81A}"/>
              </a:ext>
            </a:extLst>
          </p:cNvPr>
          <p:cNvSpPr/>
          <p:nvPr userDrawn="1"/>
        </p:nvSpPr>
        <p:spPr>
          <a:xfrm>
            <a:off x="2054374" y="1660275"/>
            <a:ext cx="920180" cy="838254"/>
          </a:xfrm>
          <a:custGeom>
            <a:avLst/>
            <a:gdLst>
              <a:gd name="connsiteX0" fmla="*/ 5637321 w 7528264"/>
              <a:gd name="connsiteY0" fmla="*/ 0 h 6889072"/>
              <a:gd name="connsiteX1" fmla="*/ 2024109 w 7528264"/>
              <a:gd name="connsiteY1" fmla="*/ 5024761 h 6889072"/>
              <a:gd name="connsiteX2" fmla="*/ 958789 w 7528264"/>
              <a:gd name="connsiteY2" fmla="*/ 3524435 h 6889072"/>
              <a:gd name="connsiteX3" fmla="*/ 0 w 7528264"/>
              <a:gd name="connsiteY3" fmla="*/ 4829453 h 6889072"/>
              <a:gd name="connsiteX4" fmla="*/ 1447061 w 7528264"/>
              <a:gd name="connsiteY4" fmla="*/ 6889072 h 6889072"/>
              <a:gd name="connsiteX5" fmla="*/ 2645546 w 7528264"/>
              <a:gd name="connsiteY5" fmla="*/ 6880195 h 6889072"/>
              <a:gd name="connsiteX6" fmla="*/ 7528264 w 7528264"/>
              <a:gd name="connsiteY6" fmla="*/ 0 h 6889072"/>
              <a:gd name="connsiteX7" fmla="*/ 5637321 w 7528264"/>
              <a:gd name="connsiteY7" fmla="*/ 0 h 688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8264" h="6889072">
                <a:moveTo>
                  <a:pt x="5637321" y="0"/>
                </a:moveTo>
                <a:lnTo>
                  <a:pt x="2024109" y="5024761"/>
                </a:lnTo>
                <a:lnTo>
                  <a:pt x="958789" y="3524435"/>
                </a:lnTo>
                <a:lnTo>
                  <a:pt x="0" y="4829453"/>
                </a:lnTo>
                <a:lnTo>
                  <a:pt x="1447061" y="6889072"/>
                </a:lnTo>
                <a:lnTo>
                  <a:pt x="2645546" y="6880195"/>
                </a:lnTo>
                <a:lnTo>
                  <a:pt x="7528264" y="0"/>
                </a:lnTo>
                <a:lnTo>
                  <a:pt x="563732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DEFA4037-F977-5F3A-0E18-E092F3CD4D93}"/>
              </a:ext>
            </a:extLst>
          </p:cNvPr>
          <p:cNvSpPr/>
          <p:nvPr userDrawn="1"/>
        </p:nvSpPr>
        <p:spPr>
          <a:xfrm>
            <a:off x="5693060" y="1660275"/>
            <a:ext cx="920180" cy="838254"/>
          </a:xfrm>
          <a:custGeom>
            <a:avLst/>
            <a:gdLst>
              <a:gd name="connsiteX0" fmla="*/ 5637321 w 7528264"/>
              <a:gd name="connsiteY0" fmla="*/ 0 h 6889072"/>
              <a:gd name="connsiteX1" fmla="*/ 2024109 w 7528264"/>
              <a:gd name="connsiteY1" fmla="*/ 5024761 h 6889072"/>
              <a:gd name="connsiteX2" fmla="*/ 958789 w 7528264"/>
              <a:gd name="connsiteY2" fmla="*/ 3524435 h 6889072"/>
              <a:gd name="connsiteX3" fmla="*/ 0 w 7528264"/>
              <a:gd name="connsiteY3" fmla="*/ 4829453 h 6889072"/>
              <a:gd name="connsiteX4" fmla="*/ 1447061 w 7528264"/>
              <a:gd name="connsiteY4" fmla="*/ 6889072 h 6889072"/>
              <a:gd name="connsiteX5" fmla="*/ 2645546 w 7528264"/>
              <a:gd name="connsiteY5" fmla="*/ 6880195 h 6889072"/>
              <a:gd name="connsiteX6" fmla="*/ 7528264 w 7528264"/>
              <a:gd name="connsiteY6" fmla="*/ 0 h 6889072"/>
              <a:gd name="connsiteX7" fmla="*/ 5637321 w 7528264"/>
              <a:gd name="connsiteY7" fmla="*/ 0 h 688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8264" h="6889072">
                <a:moveTo>
                  <a:pt x="5637321" y="0"/>
                </a:moveTo>
                <a:lnTo>
                  <a:pt x="2024109" y="5024761"/>
                </a:lnTo>
                <a:lnTo>
                  <a:pt x="958789" y="3524435"/>
                </a:lnTo>
                <a:lnTo>
                  <a:pt x="0" y="4829453"/>
                </a:lnTo>
                <a:lnTo>
                  <a:pt x="1447061" y="6889072"/>
                </a:lnTo>
                <a:lnTo>
                  <a:pt x="2645546" y="6880195"/>
                </a:lnTo>
                <a:lnTo>
                  <a:pt x="7528264" y="0"/>
                </a:lnTo>
                <a:lnTo>
                  <a:pt x="563732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2FC7FFEC-8646-5052-B846-495DF693B6A2}"/>
              </a:ext>
            </a:extLst>
          </p:cNvPr>
          <p:cNvSpPr/>
          <p:nvPr userDrawn="1"/>
        </p:nvSpPr>
        <p:spPr>
          <a:xfrm>
            <a:off x="9453118" y="1660275"/>
            <a:ext cx="920180" cy="838254"/>
          </a:xfrm>
          <a:custGeom>
            <a:avLst/>
            <a:gdLst>
              <a:gd name="connsiteX0" fmla="*/ 5637321 w 7528264"/>
              <a:gd name="connsiteY0" fmla="*/ 0 h 6889072"/>
              <a:gd name="connsiteX1" fmla="*/ 2024109 w 7528264"/>
              <a:gd name="connsiteY1" fmla="*/ 5024761 h 6889072"/>
              <a:gd name="connsiteX2" fmla="*/ 958789 w 7528264"/>
              <a:gd name="connsiteY2" fmla="*/ 3524435 h 6889072"/>
              <a:gd name="connsiteX3" fmla="*/ 0 w 7528264"/>
              <a:gd name="connsiteY3" fmla="*/ 4829453 h 6889072"/>
              <a:gd name="connsiteX4" fmla="*/ 1447061 w 7528264"/>
              <a:gd name="connsiteY4" fmla="*/ 6889072 h 6889072"/>
              <a:gd name="connsiteX5" fmla="*/ 2645546 w 7528264"/>
              <a:gd name="connsiteY5" fmla="*/ 6880195 h 6889072"/>
              <a:gd name="connsiteX6" fmla="*/ 7528264 w 7528264"/>
              <a:gd name="connsiteY6" fmla="*/ 0 h 6889072"/>
              <a:gd name="connsiteX7" fmla="*/ 5637321 w 7528264"/>
              <a:gd name="connsiteY7" fmla="*/ 0 h 688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8264" h="6889072">
                <a:moveTo>
                  <a:pt x="5637321" y="0"/>
                </a:moveTo>
                <a:lnTo>
                  <a:pt x="2024109" y="5024761"/>
                </a:lnTo>
                <a:lnTo>
                  <a:pt x="958789" y="3524435"/>
                </a:lnTo>
                <a:lnTo>
                  <a:pt x="0" y="4829453"/>
                </a:lnTo>
                <a:lnTo>
                  <a:pt x="1447061" y="6889072"/>
                </a:lnTo>
                <a:lnTo>
                  <a:pt x="2645546" y="6880195"/>
                </a:lnTo>
                <a:lnTo>
                  <a:pt x="7528264" y="0"/>
                </a:lnTo>
                <a:lnTo>
                  <a:pt x="563732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1C421DA-83C6-D8D5-B207-18A776C66B50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718413" y="3734719"/>
            <a:ext cx="3335338" cy="221438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Content Placeholder 4">
            <a:extLst>
              <a:ext uri="{FF2B5EF4-FFF2-40B4-BE49-F238E27FC236}">
                <a16:creationId xmlns:a16="http://schemas.microsoft.com/office/drawing/2014/main" id="{489DF4A1-BEBF-FE62-A36F-81892765A293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4370741" y="3734719"/>
            <a:ext cx="3335338" cy="221438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4">
            <a:extLst>
              <a:ext uri="{FF2B5EF4-FFF2-40B4-BE49-F238E27FC236}">
                <a16:creationId xmlns:a16="http://schemas.microsoft.com/office/drawing/2014/main" id="{70C9476F-0071-0EAB-6EB8-AAE634483DBA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8109659" y="3734719"/>
            <a:ext cx="3335338" cy="221438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3240970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 List 4 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range title 1">
            <a:extLst>
              <a:ext uri="{FF2B5EF4-FFF2-40B4-BE49-F238E27FC236}">
                <a16:creationId xmlns:a16="http://schemas.microsoft.com/office/drawing/2014/main" id="{4736416D-EB4F-4346-8783-FC896DC0CA6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8412" y="3159730"/>
            <a:ext cx="2446819" cy="453802"/>
          </a:xfr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tem 1</a:t>
            </a:r>
          </a:p>
        </p:txBody>
      </p:sp>
      <p:sp>
        <p:nvSpPr>
          <p:cNvPr id="18" name="Orange title 2">
            <a:extLst>
              <a:ext uri="{FF2B5EF4-FFF2-40B4-BE49-F238E27FC236}">
                <a16:creationId xmlns:a16="http://schemas.microsoft.com/office/drawing/2014/main" id="{5BAB981D-A627-42CC-B2DE-02C26E3DF94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69128" y="3156332"/>
            <a:ext cx="2446820" cy="457200"/>
          </a:xfr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tem 2</a:t>
            </a:r>
          </a:p>
        </p:txBody>
      </p:sp>
      <p:sp>
        <p:nvSpPr>
          <p:cNvPr id="19" name="Orange title 3">
            <a:extLst>
              <a:ext uri="{FF2B5EF4-FFF2-40B4-BE49-F238E27FC236}">
                <a16:creationId xmlns:a16="http://schemas.microsoft.com/office/drawing/2014/main" id="{E65F5722-9D51-4EC9-BA8C-FDC59DB8463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42328" y="3156332"/>
            <a:ext cx="2446821" cy="457200"/>
          </a:xfr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tem 3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cap="all" baseline="0"/>
            </a:lvl1pPr>
          </a:lstStyle>
          <a:p>
            <a:r>
              <a:rPr lang="en-US" dirty="0"/>
              <a:t>Horizontal List (4 Items)</a:t>
            </a:r>
          </a:p>
        </p:txBody>
      </p:sp>
      <p:sp>
        <p:nvSpPr>
          <p:cNvPr id="20" name="Rectangle 19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1" name="Rectangle 20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2" name="Rectangle 2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3" name="Rectangle 22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4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29" name="Google Shape;92;p16">
            <a:extLst>
              <a:ext uri="{FF2B5EF4-FFF2-40B4-BE49-F238E27FC236}">
                <a16:creationId xmlns:a16="http://schemas.microsoft.com/office/drawing/2014/main" id="{DBFC533B-843A-7CAF-D3DE-EBF4117677F4}"/>
              </a:ext>
            </a:extLst>
          </p:cNvPr>
          <p:cNvCxnSpPr>
            <a:cxnSpLocks/>
          </p:cNvCxnSpPr>
          <p:nvPr userDrawn="1"/>
        </p:nvCxnSpPr>
        <p:spPr>
          <a:xfrm>
            <a:off x="718412" y="3027807"/>
            <a:ext cx="10726585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1EEDCC69-40C2-C8C9-991A-8C97D34FC81A}"/>
              </a:ext>
            </a:extLst>
          </p:cNvPr>
          <p:cNvSpPr/>
          <p:nvPr userDrawn="1"/>
        </p:nvSpPr>
        <p:spPr>
          <a:xfrm>
            <a:off x="1481731" y="1660275"/>
            <a:ext cx="920180" cy="838254"/>
          </a:xfrm>
          <a:custGeom>
            <a:avLst/>
            <a:gdLst>
              <a:gd name="connsiteX0" fmla="*/ 5637321 w 7528264"/>
              <a:gd name="connsiteY0" fmla="*/ 0 h 6889072"/>
              <a:gd name="connsiteX1" fmla="*/ 2024109 w 7528264"/>
              <a:gd name="connsiteY1" fmla="*/ 5024761 h 6889072"/>
              <a:gd name="connsiteX2" fmla="*/ 958789 w 7528264"/>
              <a:gd name="connsiteY2" fmla="*/ 3524435 h 6889072"/>
              <a:gd name="connsiteX3" fmla="*/ 0 w 7528264"/>
              <a:gd name="connsiteY3" fmla="*/ 4829453 h 6889072"/>
              <a:gd name="connsiteX4" fmla="*/ 1447061 w 7528264"/>
              <a:gd name="connsiteY4" fmla="*/ 6889072 h 6889072"/>
              <a:gd name="connsiteX5" fmla="*/ 2645546 w 7528264"/>
              <a:gd name="connsiteY5" fmla="*/ 6880195 h 6889072"/>
              <a:gd name="connsiteX6" fmla="*/ 7528264 w 7528264"/>
              <a:gd name="connsiteY6" fmla="*/ 0 h 6889072"/>
              <a:gd name="connsiteX7" fmla="*/ 5637321 w 7528264"/>
              <a:gd name="connsiteY7" fmla="*/ 0 h 688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8264" h="6889072">
                <a:moveTo>
                  <a:pt x="5637321" y="0"/>
                </a:moveTo>
                <a:lnTo>
                  <a:pt x="2024109" y="5024761"/>
                </a:lnTo>
                <a:lnTo>
                  <a:pt x="958789" y="3524435"/>
                </a:lnTo>
                <a:lnTo>
                  <a:pt x="0" y="4829453"/>
                </a:lnTo>
                <a:lnTo>
                  <a:pt x="1447061" y="6889072"/>
                </a:lnTo>
                <a:lnTo>
                  <a:pt x="2645546" y="6880195"/>
                </a:lnTo>
                <a:lnTo>
                  <a:pt x="7528264" y="0"/>
                </a:lnTo>
                <a:lnTo>
                  <a:pt x="563732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DEFA4037-F977-5F3A-0E18-E092F3CD4D93}"/>
              </a:ext>
            </a:extLst>
          </p:cNvPr>
          <p:cNvSpPr/>
          <p:nvPr userDrawn="1"/>
        </p:nvSpPr>
        <p:spPr>
          <a:xfrm>
            <a:off x="7016889" y="1660275"/>
            <a:ext cx="920180" cy="838254"/>
          </a:xfrm>
          <a:custGeom>
            <a:avLst/>
            <a:gdLst>
              <a:gd name="connsiteX0" fmla="*/ 5637321 w 7528264"/>
              <a:gd name="connsiteY0" fmla="*/ 0 h 6889072"/>
              <a:gd name="connsiteX1" fmla="*/ 2024109 w 7528264"/>
              <a:gd name="connsiteY1" fmla="*/ 5024761 h 6889072"/>
              <a:gd name="connsiteX2" fmla="*/ 958789 w 7528264"/>
              <a:gd name="connsiteY2" fmla="*/ 3524435 h 6889072"/>
              <a:gd name="connsiteX3" fmla="*/ 0 w 7528264"/>
              <a:gd name="connsiteY3" fmla="*/ 4829453 h 6889072"/>
              <a:gd name="connsiteX4" fmla="*/ 1447061 w 7528264"/>
              <a:gd name="connsiteY4" fmla="*/ 6889072 h 6889072"/>
              <a:gd name="connsiteX5" fmla="*/ 2645546 w 7528264"/>
              <a:gd name="connsiteY5" fmla="*/ 6880195 h 6889072"/>
              <a:gd name="connsiteX6" fmla="*/ 7528264 w 7528264"/>
              <a:gd name="connsiteY6" fmla="*/ 0 h 6889072"/>
              <a:gd name="connsiteX7" fmla="*/ 5637321 w 7528264"/>
              <a:gd name="connsiteY7" fmla="*/ 0 h 688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8264" h="6889072">
                <a:moveTo>
                  <a:pt x="5637321" y="0"/>
                </a:moveTo>
                <a:lnTo>
                  <a:pt x="2024109" y="5024761"/>
                </a:lnTo>
                <a:lnTo>
                  <a:pt x="958789" y="3524435"/>
                </a:lnTo>
                <a:lnTo>
                  <a:pt x="0" y="4829453"/>
                </a:lnTo>
                <a:lnTo>
                  <a:pt x="1447061" y="6889072"/>
                </a:lnTo>
                <a:lnTo>
                  <a:pt x="2645546" y="6880195"/>
                </a:lnTo>
                <a:lnTo>
                  <a:pt x="7528264" y="0"/>
                </a:lnTo>
                <a:lnTo>
                  <a:pt x="563732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2FC7FFEC-8646-5052-B846-495DF693B6A2}"/>
              </a:ext>
            </a:extLst>
          </p:cNvPr>
          <p:cNvSpPr/>
          <p:nvPr userDrawn="1"/>
        </p:nvSpPr>
        <p:spPr>
          <a:xfrm>
            <a:off x="9790089" y="1660275"/>
            <a:ext cx="920180" cy="838254"/>
          </a:xfrm>
          <a:custGeom>
            <a:avLst/>
            <a:gdLst>
              <a:gd name="connsiteX0" fmla="*/ 5637321 w 7528264"/>
              <a:gd name="connsiteY0" fmla="*/ 0 h 6889072"/>
              <a:gd name="connsiteX1" fmla="*/ 2024109 w 7528264"/>
              <a:gd name="connsiteY1" fmla="*/ 5024761 h 6889072"/>
              <a:gd name="connsiteX2" fmla="*/ 958789 w 7528264"/>
              <a:gd name="connsiteY2" fmla="*/ 3524435 h 6889072"/>
              <a:gd name="connsiteX3" fmla="*/ 0 w 7528264"/>
              <a:gd name="connsiteY3" fmla="*/ 4829453 h 6889072"/>
              <a:gd name="connsiteX4" fmla="*/ 1447061 w 7528264"/>
              <a:gd name="connsiteY4" fmla="*/ 6889072 h 6889072"/>
              <a:gd name="connsiteX5" fmla="*/ 2645546 w 7528264"/>
              <a:gd name="connsiteY5" fmla="*/ 6880195 h 6889072"/>
              <a:gd name="connsiteX6" fmla="*/ 7528264 w 7528264"/>
              <a:gd name="connsiteY6" fmla="*/ 0 h 6889072"/>
              <a:gd name="connsiteX7" fmla="*/ 5637321 w 7528264"/>
              <a:gd name="connsiteY7" fmla="*/ 0 h 688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8264" h="6889072">
                <a:moveTo>
                  <a:pt x="5637321" y="0"/>
                </a:moveTo>
                <a:lnTo>
                  <a:pt x="2024109" y="5024761"/>
                </a:lnTo>
                <a:lnTo>
                  <a:pt x="958789" y="3524435"/>
                </a:lnTo>
                <a:lnTo>
                  <a:pt x="0" y="4829453"/>
                </a:lnTo>
                <a:lnTo>
                  <a:pt x="1447061" y="6889072"/>
                </a:lnTo>
                <a:lnTo>
                  <a:pt x="2645546" y="6880195"/>
                </a:lnTo>
                <a:lnTo>
                  <a:pt x="7528264" y="0"/>
                </a:lnTo>
                <a:lnTo>
                  <a:pt x="563732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1C421DA-83C6-D8D5-B207-18A776C66B50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718414" y="3734719"/>
            <a:ext cx="2446817" cy="221438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Content Placeholder 4">
            <a:extLst>
              <a:ext uri="{FF2B5EF4-FFF2-40B4-BE49-F238E27FC236}">
                <a16:creationId xmlns:a16="http://schemas.microsoft.com/office/drawing/2014/main" id="{489DF4A1-BEBF-FE62-A36F-81892765A293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3469128" y="3734719"/>
            <a:ext cx="2469303" cy="221438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4">
            <a:extLst>
              <a:ext uri="{FF2B5EF4-FFF2-40B4-BE49-F238E27FC236}">
                <a16:creationId xmlns:a16="http://schemas.microsoft.com/office/drawing/2014/main" id="{70C9476F-0071-0EAB-6EB8-AAE634483DBA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6242328" y="3734719"/>
            <a:ext cx="2469303" cy="221438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Orange title 3">
            <a:extLst>
              <a:ext uri="{FF2B5EF4-FFF2-40B4-BE49-F238E27FC236}">
                <a16:creationId xmlns:a16="http://schemas.microsoft.com/office/drawing/2014/main" id="{F8F37FF3-3142-3683-BB46-FD4068D77FE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015528" y="3156332"/>
            <a:ext cx="2446821" cy="457200"/>
          </a:xfr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tem 3</a:t>
            </a:r>
          </a:p>
        </p:txBody>
      </p:sp>
      <p:sp>
        <p:nvSpPr>
          <p:cNvPr id="27" name="Content Placeholder 4">
            <a:extLst>
              <a:ext uri="{FF2B5EF4-FFF2-40B4-BE49-F238E27FC236}">
                <a16:creationId xmlns:a16="http://schemas.microsoft.com/office/drawing/2014/main" id="{AE1CACD6-0E21-B34E-6BED-535136B02DF3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9015528" y="3734719"/>
            <a:ext cx="2469303" cy="221438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C57F8269-FA02-C7B4-0924-0D0D2C751922}"/>
              </a:ext>
            </a:extLst>
          </p:cNvPr>
          <p:cNvSpPr/>
          <p:nvPr userDrawn="1"/>
        </p:nvSpPr>
        <p:spPr>
          <a:xfrm>
            <a:off x="4232448" y="1631805"/>
            <a:ext cx="920180" cy="838254"/>
          </a:xfrm>
          <a:custGeom>
            <a:avLst/>
            <a:gdLst>
              <a:gd name="connsiteX0" fmla="*/ 5637321 w 7528264"/>
              <a:gd name="connsiteY0" fmla="*/ 0 h 6889072"/>
              <a:gd name="connsiteX1" fmla="*/ 2024109 w 7528264"/>
              <a:gd name="connsiteY1" fmla="*/ 5024761 h 6889072"/>
              <a:gd name="connsiteX2" fmla="*/ 958789 w 7528264"/>
              <a:gd name="connsiteY2" fmla="*/ 3524435 h 6889072"/>
              <a:gd name="connsiteX3" fmla="*/ 0 w 7528264"/>
              <a:gd name="connsiteY3" fmla="*/ 4829453 h 6889072"/>
              <a:gd name="connsiteX4" fmla="*/ 1447061 w 7528264"/>
              <a:gd name="connsiteY4" fmla="*/ 6889072 h 6889072"/>
              <a:gd name="connsiteX5" fmla="*/ 2645546 w 7528264"/>
              <a:gd name="connsiteY5" fmla="*/ 6880195 h 6889072"/>
              <a:gd name="connsiteX6" fmla="*/ 7528264 w 7528264"/>
              <a:gd name="connsiteY6" fmla="*/ 0 h 6889072"/>
              <a:gd name="connsiteX7" fmla="*/ 5637321 w 7528264"/>
              <a:gd name="connsiteY7" fmla="*/ 0 h 688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8264" h="6889072">
                <a:moveTo>
                  <a:pt x="5637321" y="0"/>
                </a:moveTo>
                <a:lnTo>
                  <a:pt x="2024109" y="5024761"/>
                </a:lnTo>
                <a:lnTo>
                  <a:pt x="958789" y="3524435"/>
                </a:lnTo>
                <a:lnTo>
                  <a:pt x="0" y="4829453"/>
                </a:lnTo>
                <a:lnTo>
                  <a:pt x="1447061" y="6889072"/>
                </a:lnTo>
                <a:lnTo>
                  <a:pt x="2645546" y="6880195"/>
                </a:lnTo>
                <a:lnTo>
                  <a:pt x="7528264" y="0"/>
                </a:lnTo>
                <a:lnTo>
                  <a:pt x="563732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970843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-Column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901FF2-876E-A64A-BEBE-DD905BF64C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0"/>
            <a:ext cx="11341100" cy="107899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88C2EF-BB40-0E43-9E11-05E69EBD5A9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69900" y="1371600"/>
            <a:ext cx="5181600" cy="45011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E0EFADB-B118-EB46-B2E3-A04C0D94370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629400" y="1371600"/>
            <a:ext cx="5181600" cy="45011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7A67E33-C5D4-A74F-BE26-69259B9FAB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/>
          <a:lstStyle/>
          <a:p>
            <a:fld id="{157C3A33-8797-B644-A994-F09AF5F5037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654903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9F3237-B786-E348-B12F-E7662E4412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500" y="0"/>
            <a:ext cx="11366500" cy="107899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9E8E7AB-B0E5-8C4C-B294-FCDD664E16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4500" y="1371600"/>
            <a:ext cx="5157787" cy="6858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51CF415-74C4-3B4A-BFDE-E7964F32502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44500" y="2139950"/>
            <a:ext cx="5157787" cy="37494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1D49E14-8CB5-7444-9E17-0C227DA145D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627812" y="1371600"/>
            <a:ext cx="5183188" cy="6858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34CAFEC-4B44-3E4E-BE0D-9B1CCE3054B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627812" y="2139950"/>
            <a:ext cx="5183188" cy="37494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B2466CC-D79C-3648-8415-724F98B62B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/>
          <a:lstStyle/>
          <a:p>
            <a:fld id="{157C3A33-8797-B644-A994-F09AF5F5037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18677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991DF6A-7476-8374-397C-66D014EF3017}"/>
              </a:ext>
            </a:extLst>
          </p:cNvPr>
          <p:cNvSpPr/>
          <p:nvPr userDrawn="1"/>
        </p:nvSpPr>
        <p:spPr>
          <a:xfrm>
            <a:off x="0" y="-7"/>
            <a:ext cx="12192000" cy="68580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BCAD76A-447F-F7F2-0A6A-07254FB8730D}"/>
              </a:ext>
            </a:extLst>
          </p:cNvPr>
          <p:cNvSpPr/>
          <p:nvPr userDrawn="1"/>
        </p:nvSpPr>
        <p:spPr>
          <a:xfrm>
            <a:off x="364222" y="-8"/>
            <a:ext cx="7528264" cy="6858007"/>
          </a:xfrm>
          <a:custGeom>
            <a:avLst/>
            <a:gdLst>
              <a:gd name="connsiteX0" fmla="*/ 5637321 w 7528264"/>
              <a:gd name="connsiteY0" fmla="*/ 0 h 6889072"/>
              <a:gd name="connsiteX1" fmla="*/ 2024109 w 7528264"/>
              <a:gd name="connsiteY1" fmla="*/ 5024761 h 6889072"/>
              <a:gd name="connsiteX2" fmla="*/ 958789 w 7528264"/>
              <a:gd name="connsiteY2" fmla="*/ 3524435 h 6889072"/>
              <a:gd name="connsiteX3" fmla="*/ 0 w 7528264"/>
              <a:gd name="connsiteY3" fmla="*/ 4829453 h 6889072"/>
              <a:gd name="connsiteX4" fmla="*/ 1447061 w 7528264"/>
              <a:gd name="connsiteY4" fmla="*/ 6889072 h 6889072"/>
              <a:gd name="connsiteX5" fmla="*/ 2645546 w 7528264"/>
              <a:gd name="connsiteY5" fmla="*/ 6880195 h 6889072"/>
              <a:gd name="connsiteX6" fmla="*/ 7528264 w 7528264"/>
              <a:gd name="connsiteY6" fmla="*/ 0 h 6889072"/>
              <a:gd name="connsiteX7" fmla="*/ 5637321 w 7528264"/>
              <a:gd name="connsiteY7" fmla="*/ 0 h 688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8264" h="6889072">
                <a:moveTo>
                  <a:pt x="5637321" y="0"/>
                </a:moveTo>
                <a:lnTo>
                  <a:pt x="2024109" y="5024761"/>
                </a:lnTo>
                <a:lnTo>
                  <a:pt x="958789" y="3524435"/>
                </a:lnTo>
                <a:lnTo>
                  <a:pt x="0" y="4829453"/>
                </a:lnTo>
                <a:lnTo>
                  <a:pt x="1447061" y="6889072"/>
                </a:lnTo>
                <a:lnTo>
                  <a:pt x="2645546" y="6880195"/>
                </a:lnTo>
                <a:lnTo>
                  <a:pt x="7528264" y="0"/>
                </a:lnTo>
                <a:lnTo>
                  <a:pt x="5637321" y="0"/>
                </a:lnTo>
                <a:close/>
              </a:path>
            </a:pathLst>
          </a:custGeom>
          <a:solidFill>
            <a:srgbClr val="FFD9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811C99-6DCF-1B2B-68E3-31F3A940648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2707" y="418640"/>
            <a:ext cx="11314324" cy="3314005"/>
          </a:xfrm>
        </p:spPr>
        <p:txBody>
          <a:bodyPr anchor="ctr"/>
          <a:lstStyle>
            <a:lvl1pPr>
              <a:defRPr sz="72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TITLE OF PRESENTATIO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C600C45-84BF-667F-60D3-94DEE0A476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2706" y="4145092"/>
            <a:ext cx="7358930" cy="44267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Subhead and / or meeting nam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213A3FE-3464-A4E0-20B7-C4EB2EA800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2705" y="4685690"/>
            <a:ext cx="7358930" cy="442675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 dirty="0"/>
              <a:t>Dat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C22D045-F2E9-3340-0E64-E03750416538}"/>
              </a:ext>
            </a:extLst>
          </p:cNvPr>
          <p:cNvCxnSpPr>
            <a:cxnSpLocks/>
          </p:cNvCxnSpPr>
          <p:nvPr userDrawn="1"/>
        </p:nvCxnSpPr>
        <p:spPr>
          <a:xfrm>
            <a:off x="462706" y="6081408"/>
            <a:ext cx="11314325" cy="0"/>
          </a:xfrm>
          <a:prstGeom prst="line">
            <a:avLst/>
          </a:prstGeom>
          <a:ln w="38100"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Text&#10;&#10;Description automatically generated">
            <a:extLst>
              <a:ext uri="{FF2B5EF4-FFF2-40B4-BE49-F238E27FC236}">
                <a16:creationId xmlns:a16="http://schemas.microsoft.com/office/drawing/2014/main" id="{239542C0-05CC-07FD-FDFD-45D8A9C84C8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21168" y="3671268"/>
            <a:ext cx="3877768" cy="2410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822943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D3F11C0-6649-02E4-C40B-47487FB0AF2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A5540E7-9486-578A-551E-366C8056E7E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2104391" y="704008"/>
            <a:ext cx="8011450" cy="497933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65FD98F-748F-DB45-A42B-08A1C540C53F}"/>
              </a:ext>
            </a:extLst>
          </p:cNvPr>
          <p:cNvSpPr txBox="1"/>
          <p:nvPr userDrawn="1"/>
        </p:nvSpPr>
        <p:spPr>
          <a:xfrm>
            <a:off x="6907239" y="4719015"/>
            <a:ext cx="33059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spc="-150" dirty="0">
                <a:solidFill>
                  <a:schemeClr val="tx1"/>
                </a:solidFill>
              </a:rPr>
              <a:t>metroplus.org</a:t>
            </a:r>
          </a:p>
        </p:txBody>
      </p:sp>
    </p:spTree>
    <p:extLst>
      <p:ext uri="{BB962C8B-B14F-4D97-AF65-F5344CB8AC3E}">
        <p14:creationId xmlns:p14="http://schemas.microsoft.com/office/powerpoint/2010/main" val="1771090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D3F11C0-6649-02E4-C40B-47487FB0AF2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8" descr="Text&#10;&#10;Description automatically generated">
            <a:extLst>
              <a:ext uri="{FF2B5EF4-FFF2-40B4-BE49-F238E27FC236}">
                <a16:creationId xmlns:a16="http://schemas.microsoft.com/office/drawing/2014/main" id="{5621F6D3-E0CA-FDFC-4F83-63BF23171BB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104391" y="704008"/>
            <a:ext cx="8011451" cy="497933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C444373-F753-3CD1-37A4-9F05FFA3823E}"/>
              </a:ext>
            </a:extLst>
          </p:cNvPr>
          <p:cNvSpPr txBox="1"/>
          <p:nvPr userDrawn="1"/>
        </p:nvSpPr>
        <p:spPr>
          <a:xfrm>
            <a:off x="6907239" y="4719015"/>
            <a:ext cx="33059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spc="-150" dirty="0">
                <a:solidFill>
                  <a:schemeClr val="bg1"/>
                </a:solidFill>
              </a:rPr>
              <a:t>metroplus.org</a:t>
            </a:r>
          </a:p>
        </p:txBody>
      </p:sp>
    </p:spTree>
    <p:extLst>
      <p:ext uri="{BB962C8B-B14F-4D97-AF65-F5344CB8AC3E}">
        <p14:creationId xmlns:p14="http://schemas.microsoft.com/office/powerpoint/2010/main" val="49034140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D3F11C0-6649-02E4-C40B-47487FB0AF2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621F6D3-E0CA-FDFC-4F83-63BF23171BB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157116" y="3973690"/>
            <a:ext cx="3877767" cy="241014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C444373-F753-3CD1-37A4-9F05FFA3823E}"/>
              </a:ext>
            </a:extLst>
          </p:cNvPr>
          <p:cNvSpPr txBox="1"/>
          <p:nvPr userDrawn="1"/>
        </p:nvSpPr>
        <p:spPr>
          <a:xfrm>
            <a:off x="6216332" y="5898022"/>
            <a:ext cx="1858178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700" spc="0" dirty="0">
                <a:solidFill>
                  <a:schemeClr val="tx1"/>
                </a:solidFill>
              </a:rPr>
              <a:t>metroplus.org</a:t>
            </a:r>
          </a:p>
        </p:txBody>
      </p:sp>
    </p:spTree>
    <p:extLst>
      <p:ext uri="{BB962C8B-B14F-4D97-AF65-F5344CB8AC3E}">
        <p14:creationId xmlns:p14="http://schemas.microsoft.com/office/powerpoint/2010/main" val="19093551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D3F11C0-6649-02E4-C40B-47487FB0AF2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8" descr="Text&#10;&#10;Description automatically generated">
            <a:extLst>
              <a:ext uri="{FF2B5EF4-FFF2-40B4-BE49-F238E27FC236}">
                <a16:creationId xmlns:a16="http://schemas.microsoft.com/office/drawing/2014/main" id="{5621F6D3-E0CA-FDFC-4F83-63BF23171BB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57116" y="3973690"/>
            <a:ext cx="3877768" cy="241014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C444373-F753-3CD1-37A4-9F05FFA3823E}"/>
              </a:ext>
            </a:extLst>
          </p:cNvPr>
          <p:cNvSpPr txBox="1"/>
          <p:nvPr userDrawn="1"/>
        </p:nvSpPr>
        <p:spPr>
          <a:xfrm>
            <a:off x="6176706" y="5898022"/>
            <a:ext cx="1858178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700" spc="0" dirty="0">
                <a:solidFill>
                  <a:schemeClr val="bg1"/>
                </a:solidFill>
              </a:rPr>
              <a:t>metroplus.org</a:t>
            </a:r>
          </a:p>
        </p:txBody>
      </p:sp>
    </p:spTree>
    <p:extLst>
      <p:ext uri="{BB962C8B-B14F-4D97-AF65-F5344CB8AC3E}">
        <p14:creationId xmlns:p14="http://schemas.microsoft.com/office/powerpoint/2010/main" val="14091394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991DF6A-7476-8374-397C-66D014EF3017}"/>
              </a:ext>
            </a:extLst>
          </p:cNvPr>
          <p:cNvSpPr/>
          <p:nvPr userDrawn="1"/>
        </p:nvSpPr>
        <p:spPr>
          <a:xfrm>
            <a:off x="0" y="-7"/>
            <a:ext cx="12192000" cy="68580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BCAD76A-447F-F7F2-0A6A-07254FB8730D}"/>
              </a:ext>
            </a:extLst>
          </p:cNvPr>
          <p:cNvSpPr/>
          <p:nvPr userDrawn="1"/>
        </p:nvSpPr>
        <p:spPr>
          <a:xfrm>
            <a:off x="361312" y="0"/>
            <a:ext cx="7547159" cy="6858000"/>
          </a:xfrm>
          <a:custGeom>
            <a:avLst/>
            <a:gdLst>
              <a:gd name="connsiteX0" fmla="*/ 5637321 w 7528264"/>
              <a:gd name="connsiteY0" fmla="*/ 0 h 6889072"/>
              <a:gd name="connsiteX1" fmla="*/ 2024109 w 7528264"/>
              <a:gd name="connsiteY1" fmla="*/ 5024761 h 6889072"/>
              <a:gd name="connsiteX2" fmla="*/ 958789 w 7528264"/>
              <a:gd name="connsiteY2" fmla="*/ 3524435 h 6889072"/>
              <a:gd name="connsiteX3" fmla="*/ 0 w 7528264"/>
              <a:gd name="connsiteY3" fmla="*/ 4829453 h 6889072"/>
              <a:gd name="connsiteX4" fmla="*/ 1447061 w 7528264"/>
              <a:gd name="connsiteY4" fmla="*/ 6889072 h 6889072"/>
              <a:gd name="connsiteX5" fmla="*/ 2645546 w 7528264"/>
              <a:gd name="connsiteY5" fmla="*/ 6880195 h 6889072"/>
              <a:gd name="connsiteX6" fmla="*/ 7528264 w 7528264"/>
              <a:gd name="connsiteY6" fmla="*/ 0 h 6889072"/>
              <a:gd name="connsiteX7" fmla="*/ 5637321 w 7528264"/>
              <a:gd name="connsiteY7" fmla="*/ 0 h 688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8264" h="6889072">
                <a:moveTo>
                  <a:pt x="5637321" y="0"/>
                </a:moveTo>
                <a:lnTo>
                  <a:pt x="2024109" y="5024761"/>
                </a:lnTo>
                <a:lnTo>
                  <a:pt x="958789" y="3524435"/>
                </a:lnTo>
                <a:lnTo>
                  <a:pt x="0" y="4829453"/>
                </a:lnTo>
                <a:lnTo>
                  <a:pt x="1447061" y="6889072"/>
                </a:lnTo>
                <a:lnTo>
                  <a:pt x="2645546" y="6880195"/>
                </a:lnTo>
                <a:lnTo>
                  <a:pt x="7528264" y="0"/>
                </a:lnTo>
                <a:lnTo>
                  <a:pt x="5637321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811C99-6DCF-1B2B-68E3-31F3A940648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0" y="2911450"/>
            <a:ext cx="5892800" cy="1348802"/>
          </a:xfrm>
        </p:spPr>
        <p:txBody>
          <a:bodyPr/>
          <a:lstStyle>
            <a:lvl1pPr>
              <a:defRPr sz="44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TITLE OF PRESENTATIO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C600C45-84BF-667F-60D3-94DEE0A476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9" y="4654865"/>
            <a:ext cx="5892800" cy="44267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Subhead and / or meeting nam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213A3FE-3464-A4E0-20B7-C4EB2EA800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5998" y="5195464"/>
            <a:ext cx="5892800" cy="386702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33C8D4C-2C59-B708-E0D1-232B9FB6E4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8787788" y="6081408"/>
            <a:ext cx="3404212" cy="776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2673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/Prefa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991DF6A-7476-8374-397C-66D014EF3017}"/>
              </a:ext>
            </a:extLst>
          </p:cNvPr>
          <p:cNvSpPr/>
          <p:nvPr userDrawn="1"/>
        </p:nvSpPr>
        <p:spPr>
          <a:xfrm>
            <a:off x="0" y="-7"/>
            <a:ext cx="12192000" cy="28765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BCAD76A-447F-F7F2-0A6A-07254FB8730D}"/>
              </a:ext>
            </a:extLst>
          </p:cNvPr>
          <p:cNvSpPr/>
          <p:nvPr userDrawn="1"/>
        </p:nvSpPr>
        <p:spPr>
          <a:xfrm>
            <a:off x="535256" y="483907"/>
            <a:ext cx="2208862" cy="2012202"/>
          </a:xfrm>
          <a:custGeom>
            <a:avLst/>
            <a:gdLst>
              <a:gd name="connsiteX0" fmla="*/ 5637321 w 7528264"/>
              <a:gd name="connsiteY0" fmla="*/ 0 h 6889072"/>
              <a:gd name="connsiteX1" fmla="*/ 2024109 w 7528264"/>
              <a:gd name="connsiteY1" fmla="*/ 5024761 h 6889072"/>
              <a:gd name="connsiteX2" fmla="*/ 958789 w 7528264"/>
              <a:gd name="connsiteY2" fmla="*/ 3524435 h 6889072"/>
              <a:gd name="connsiteX3" fmla="*/ 0 w 7528264"/>
              <a:gd name="connsiteY3" fmla="*/ 4829453 h 6889072"/>
              <a:gd name="connsiteX4" fmla="*/ 1447061 w 7528264"/>
              <a:gd name="connsiteY4" fmla="*/ 6889072 h 6889072"/>
              <a:gd name="connsiteX5" fmla="*/ 2645546 w 7528264"/>
              <a:gd name="connsiteY5" fmla="*/ 6880195 h 6889072"/>
              <a:gd name="connsiteX6" fmla="*/ 7528264 w 7528264"/>
              <a:gd name="connsiteY6" fmla="*/ 0 h 6889072"/>
              <a:gd name="connsiteX7" fmla="*/ 5637321 w 7528264"/>
              <a:gd name="connsiteY7" fmla="*/ 0 h 688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8264" h="6889072">
                <a:moveTo>
                  <a:pt x="5637321" y="0"/>
                </a:moveTo>
                <a:lnTo>
                  <a:pt x="2024109" y="5024761"/>
                </a:lnTo>
                <a:lnTo>
                  <a:pt x="958789" y="3524435"/>
                </a:lnTo>
                <a:lnTo>
                  <a:pt x="0" y="4829453"/>
                </a:lnTo>
                <a:lnTo>
                  <a:pt x="1447061" y="6889072"/>
                </a:lnTo>
                <a:lnTo>
                  <a:pt x="2645546" y="6880195"/>
                </a:lnTo>
                <a:lnTo>
                  <a:pt x="7528264" y="0"/>
                </a:lnTo>
                <a:lnTo>
                  <a:pt x="5637321" y="0"/>
                </a:lnTo>
                <a:close/>
              </a:path>
            </a:pathLst>
          </a:cu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811C99-6DCF-1B2B-68E3-31F3A940648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42192" y="464858"/>
            <a:ext cx="7358930" cy="2164042"/>
          </a:xfrm>
        </p:spPr>
        <p:txBody>
          <a:bodyPr anchor="b"/>
          <a:lstStyle>
            <a:lvl1pPr>
              <a:defRPr sz="48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Introduction/ Preface</a:t>
            </a:r>
          </a:p>
        </p:txBody>
      </p:sp>
      <p:sp>
        <p:nvSpPr>
          <p:cNvPr id="15" name="Slide Number Placeholder 7">
            <a:extLst>
              <a:ext uri="{FF2B5EF4-FFF2-40B4-BE49-F238E27FC236}">
                <a16:creationId xmlns:a16="http://schemas.microsoft.com/office/drawing/2014/main" id="{D00EB1DA-48E2-552D-390E-93B76B09DC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CF4EED3D-B130-481A-8ECD-A0040EAC36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0E67E9C-E402-346E-D079-EA211EC5B3EE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242192" y="3093765"/>
            <a:ext cx="7358930" cy="280987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563259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991DF6A-7476-8374-397C-66D014EF3017}"/>
              </a:ext>
            </a:extLst>
          </p:cNvPr>
          <p:cNvSpPr/>
          <p:nvPr userDrawn="1"/>
        </p:nvSpPr>
        <p:spPr>
          <a:xfrm>
            <a:off x="0" y="-7"/>
            <a:ext cx="12192000" cy="113432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811C99-6DCF-1B2B-68E3-31F3A940648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16535" y="-7"/>
            <a:ext cx="7358930" cy="954367"/>
          </a:xfrm>
        </p:spPr>
        <p:txBody>
          <a:bodyPr anchor="b"/>
          <a:lstStyle>
            <a:lvl1pPr>
              <a:defRPr sz="48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ontents</a:t>
            </a:r>
          </a:p>
        </p:txBody>
      </p:sp>
      <p:sp>
        <p:nvSpPr>
          <p:cNvPr id="15" name="Slide Number Placeholder 7">
            <a:extLst>
              <a:ext uri="{FF2B5EF4-FFF2-40B4-BE49-F238E27FC236}">
                <a16:creationId xmlns:a16="http://schemas.microsoft.com/office/drawing/2014/main" id="{D00EB1DA-48E2-552D-390E-93B76B09DC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CF4EED3D-B130-481A-8ECD-A0040EAC36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0E67E9C-E402-346E-D079-EA211EC5B3EE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416535" y="1562581"/>
            <a:ext cx="7358930" cy="434105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011714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991DF6A-7476-8374-397C-66D014EF3017}"/>
              </a:ext>
            </a:extLst>
          </p:cNvPr>
          <p:cNvSpPr/>
          <p:nvPr userDrawn="1"/>
        </p:nvSpPr>
        <p:spPr>
          <a:xfrm>
            <a:off x="0" y="-7"/>
            <a:ext cx="12192000" cy="61804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BCAD76A-447F-F7F2-0A6A-07254FB8730D}"/>
              </a:ext>
            </a:extLst>
          </p:cNvPr>
          <p:cNvSpPr/>
          <p:nvPr userDrawn="1"/>
        </p:nvSpPr>
        <p:spPr>
          <a:xfrm>
            <a:off x="1525856" y="2218275"/>
            <a:ext cx="2208862" cy="2012202"/>
          </a:xfrm>
          <a:custGeom>
            <a:avLst/>
            <a:gdLst>
              <a:gd name="connsiteX0" fmla="*/ 5637321 w 7528264"/>
              <a:gd name="connsiteY0" fmla="*/ 0 h 6889072"/>
              <a:gd name="connsiteX1" fmla="*/ 2024109 w 7528264"/>
              <a:gd name="connsiteY1" fmla="*/ 5024761 h 6889072"/>
              <a:gd name="connsiteX2" fmla="*/ 958789 w 7528264"/>
              <a:gd name="connsiteY2" fmla="*/ 3524435 h 6889072"/>
              <a:gd name="connsiteX3" fmla="*/ 0 w 7528264"/>
              <a:gd name="connsiteY3" fmla="*/ 4829453 h 6889072"/>
              <a:gd name="connsiteX4" fmla="*/ 1447061 w 7528264"/>
              <a:gd name="connsiteY4" fmla="*/ 6889072 h 6889072"/>
              <a:gd name="connsiteX5" fmla="*/ 2645546 w 7528264"/>
              <a:gd name="connsiteY5" fmla="*/ 6880195 h 6889072"/>
              <a:gd name="connsiteX6" fmla="*/ 7528264 w 7528264"/>
              <a:gd name="connsiteY6" fmla="*/ 0 h 6889072"/>
              <a:gd name="connsiteX7" fmla="*/ 5637321 w 7528264"/>
              <a:gd name="connsiteY7" fmla="*/ 0 h 688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8264" h="6889072">
                <a:moveTo>
                  <a:pt x="5637321" y="0"/>
                </a:moveTo>
                <a:lnTo>
                  <a:pt x="2024109" y="5024761"/>
                </a:lnTo>
                <a:lnTo>
                  <a:pt x="958789" y="3524435"/>
                </a:lnTo>
                <a:lnTo>
                  <a:pt x="0" y="4829453"/>
                </a:lnTo>
                <a:lnTo>
                  <a:pt x="1447061" y="6889072"/>
                </a:lnTo>
                <a:lnTo>
                  <a:pt x="2645546" y="6880195"/>
                </a:lnTo>
                <a:lnTo>
                  <a:pt x="7528264" y="0"/>
                </a:lnTo>
                <a:lnTo>
                  <a:pt x="5637321" y="0"/>
                </a:lnTo>
                <a:close/>
              </a:path>
            </a:pathLst>
          </a:cu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811C99-6DCF-1B2B-68E3-31F3A940648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847" y="2069176"/>
            <a:ext cx="7358930" cy="2605497"/>
          </a:xfrm>
        </p:spPr>
        <p:txBody>
          <a:bodyPr/>
          <a:lstStyle>
            <a:lvl1pPr>
              <a:defRPr sz="88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Section Divider Title</a:t>
            </a:r>
          </a:p>
        </p:txBody>
      </p:sp>
      <p:sp>
        <p:nvSpPr>
          <p:cNvPr id="15" name="Slide Number Placeholder 7">
            <a:extLst>
              <a:ext uri="{FF2B5EF4-FFF2-40B4-BE49-F238E27FC236}">
                <a16:creationId xmlns:a16="http://schemas.microsoft.com/office/drawing/2014/main" id="{D00EB1DA-48E2-552D-390E-93B76B09DC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CF4EED3D-B130-481A-8ECD-A0040EAC36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37014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991DF6A-7476-8374-397C-66D014EF3017}"/>
              </a:ext>
            </a:extLst>
          </p:cNvPr>
          <p:cNvSpPr/>
          <p:nvPr userDrawn="1"/>
        </p:nvSpPr>
        <p:spPr>
          <a:xfrm>
            <a:off x="0" y="-8"/>
            <a:ext cx="12192000" cy="685800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FA46D8F-B440-E6A5-259A-83D6CA5AD8A3}"/>
              </a:ext>
            </a:extLst>
          </p:cNvPr>
          <p:cNvSpPr/>
          <p:nvPr userDrawn="1"/>
        </p:nvSpPr>
        <p:spPr>
          <a:xfrm>
            <a:off x="364222" y="-8"/>
            <a:ext cx="7528264" cy="6858007"/>
          </a:xfrm>
          <a:custGeom>
            <a:avLst/>
            <a:gdLst>
              <a:gd name="connsiteX0" fmla="*/ 5637321 w 7528264"/>
              <a:gd name="connsiteY0" fmla="*/ 0 h 6889072"/>
              <a:gd name="connsiteX1" fmla="*/ 2024109 w 7528264"/>
              <a:gd name="connsiteY1" fmla="*/ 5024761 h 6889072"/>
              <a:gd name="connsiteX2" fmla="*/ 958789 w 7528264"/>
              <a:gd name="connsiteY2" fmla="*/ 3524435 h 6889072"/>
              <a:gd name="connsiteX3" fmla="*/ 0 w 7528264"/>
              <a:gd name="connsiteY3" fmla="*/ 4829453 h 6889072"/>
              <a:gd name="connsiteX4" fmla="*/ 1447061 w 7528264"/>
              <a:gd name="connsiteY4" fmla="*/ 6889072 h 6889072"/>
              <a:gd name="connsiteX5" fmla="*/ 2645546 w 7528264"/>
              <a:gd name="connsiteY5" fmla="*/ 6880195 h 6889072"/>
              <a:gd name="connsiteX6" fmla="*/ 7528264 w 7528264"/>
              <a:gd name="connsiteY6" fmla="*/ 0 h 6889072"/>
              <a:gd name="connsiteX7" fmla="*/ 5637321 w 7528264"/>
              <a:gd name="connsiteY7" fmla="*/ 0 h 688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8264" h="6889072">
                <a:moveTo>
                  <a:pt x="5637321" y="0"/>
                </a:moveTo>
                <a:lnTo>
                  <a:pt x="2024109" y="5024761"/>
                </a:lnTo>
                <a:lnTo>
                  <a:pt x="958789" y="3524435"/>
                </a:lnTo>
                <a:lnTo>
                  <a:pt x="0" y="4829453"/>
                </a:lnTo>
                <a:lnTo>
                  <a:pt x="1447061" y="6889072"/>
                </a:lnTo>
                <a:lnTo>
                  <a:pt x="2645546" y="6880195"/>
                </a:lnTo>
                <a:lnTo>
                  <a:pt x="7528264" y="0"/>
                </a:lnTo>
                <a:lnTo>
                  <a:pt x="5637321" y="0"/>
                </a:lnTo>
                <a:close/>
              </a:path>
            </a:pathLst>
          </a:custGeom>
          <a:solidFill>
            <a:srgbClr val="FFD9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Slide Number Placeholder 7">
            <a:extLst>
              <a:ext uri="{FF2B5EF4-FFF2-40B4-BE49-F238E27FC236}">
                <a16:creationId xmlns:a16="http://schemas.microsoft.com/office/drawing/2014/main" id="{D00EB1DA-48E2-552D-390E-93B76B09DC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CF4EED3D-B130-481A-8ECD-A0040EAC36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811C99-6DCF-1B2B-68E3-31F3A940648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73100" y="762924"/>
            <a:ext cx="10645799" cy="5332141"/>
          </a:xfrm>
        </p:spPr>
        <p:txBody>
          <a:bodyPr anchor="ctr"/>
          <a:lstStyle>
            <a:lvl1pPr algn="ctr">
              <a:defRPr sz="88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Section Divider Tit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C12642B-675C-7DE1-4488-91874ACAA2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6081408"/>
            <a:ext cx="3404212" cy="776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70566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991DF6A-7476-8374-397C-66D014EF3017}"/>
              </a:ext>
            </a:extLst>
          </p:cNvPr>
          <p:cNvSpPr/>
          <p:nvPr userDrawn="1"/>
        </p:nvSpPr>
        <p:spPr>
          <a:xfrm>
            <a:off x="0" y="-8"/>
            <a:ext cx="12192000" cy="67627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Slide Number Placeholder 7">
            <a:extLst>
              <a:ext uri="{FF2B5EF4-FFF2-40B4-BE49-F238E27FC236}">
                <a16:creationId xmlns:a16="http://schemas.microsoft.com/office/drawing/2014/main" id="{D00EB1DA-48E2-552D-390E-93B76B09DC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CF4EED3D-B130-481A-8ECD-A0040EAC36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811C99-6DCF-1B2B-68E3-31F3A940648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43625" y="3153569"/>
            <a:ext cx="5667375" cy="3017457"/>
          </a:xfrm>
        </p:spPr>
        <p:txBody>
          <a:bodyPr anchor="t"/>
          <a:lstStyle>
            <a:lvl1pPr algn="l">
              <a:defRPr sz="72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Section Divider Title</a:t>
            </a: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AC50BB4F-171F-D597-7B63-B8CF4EBC6166}"/>
              </a:ext>
            </a:extLst>
          </p:cNvPr>
          <p:cNvSpPr/>
          <p:nvPr userDrawn="1"/>
        </p:nvSpPr>
        <p:spPr>
          <a:xfrm>
            <a:off x="361312" y="0"/>
            <a:ext cx="7547159" cy="6858000"/>
          </a:xfrm>
          <a:custGeom>
            <a:avLst/>
            <a:gdLst>
              <a:gd name="connsiteX0" fmla="*/ 5637321 w 7528264"/>
              <a:gd name="connsiteY0" fmla="*/ 0 h 6889072"/>
              <a:gd name="connsiteX1" fmla="*/ 2024109 w 7528264"/>
              <a:gd name="connsiteY1" fmla="*/ 5024761 h 6889072"/>
              <a:gd name="connsiteX2" fmla="*/ 958789 w 7528264"/>
              <a:gd name="connsiteY2" fmla="*/ 3524435 h 6889072"/>
              <a:gd name="connsiteX3" fmla="*/ 0 w 7528264"/>
              <a:gd name="connsiteY3" fmla="*/ 4829453 h 6889072"/>
              <a:gd name="connsiteX4" fmla="*/ 1447061 w 7528264"/>
              <a:gd name="connsiteY4" fmla="*/ 6889072 h 6889072"/>
              <a:gd name="connsiteX5" fmla="*/ 2645546 w 7528264"/>
              <a:gd name="connsiteY5" fmla="*/ 6880195 h 6889072"/>
              <a:gd name="connsiteX6" fmla="*/ 7528264 w 7528264"/>
              <a:gd name="connsiteY6" fmla="*/ 0 h 6889072"/>
              <a:gd name="connsiteX7" fmla="*/ 5637321 w 7528264"/>
              <a:gd name="connsiteY7" fmla="*/ 0 h 688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8264" h="6889072">
                <a:moveTo>
                  <a:pt x="5637321" y="0"/>
                </a:moveTo>
                <a:lnTo>
                  <a:pt x="2024109" y="5024761"/>
                </a:lnTo>
                <a:lnTo>
                  <a:pt x="958789" y="3524435"/>
                </a:lnTo>
                <a:lnTo>
                  <a:pt x="0" y="4829453"/>
                </a:lnTo>
                <a:lnTo>
                  <a:pt x="1447061" y="6889072"/>
                </a:lnTo>
                <a:lnTo>
                  <a:pt x="2645546" y="6880195"/>
                </a:lnTo>
                <a:lnTo>
                  <a:pt x="7528264" y="0"/>
                </a:lnTo>
                <a:lnTo>
                  <a:pt x="5637321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F663189-B689-FA7E-C80E-C085E30F519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6081408"/>
            <a:ext cx="3404212" cy="776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85235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B9D0C7-EB8D-AB4F-849C-A73E2AB3DA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0"/>
            <a:ext cx="11341100" cy="107899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 err="1"/>
              <a:t>TexT</a:t>
            </a:r>
            <a:r>
              <a:rPr lang="en-US" dirty="0"/>
              <a:t> Slid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4B6CE22-FB8D-D242-AFD3-862C54D6A0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/>
          <a:lstStyle/>
          <a:p>
            <a:fld id="{157C3A33-8797-B644-A994-F09AF5F503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DB114FE-8B7D-E146-A724-04992485DD9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371600"/>
            <a:ext cx="11341100" cy="45886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075859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06FCDA1-B2C5-6548-B895-AF1321DBA8F4}"/>
              </a:ext>
            </a:extLst>
          </p:cNvPr>
          <p:cNvSpPr/>
          <p:nvPr userDrawn="1"/>
        </p:nvSpPr>
        <p:spPr>
          <a:xfrm>
            <a:off x="0" y="6075776"/>
            <a:ext cx="12192000" cy="782224"/>
          </a:xfrm>
          <a:prstGeom prst="rect">
            <a:avLst/>
          </a:prstGeom>
          <a:solidFill>
            <a:srgbClr val="FFCF31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noFill/>
            </a:endParaRPr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D2554F3-216C-4D96-9700-4167C9A7EB7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57200" y="0"/>
            <a:ext cx="11338560" cy="10740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D46BD98C-B571-43D4-81FF-2F456DCE5E22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57200" y="1371600"/>
            <a:ext cx="11338560" cy="45188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880C12F-0958-4626-AFCF-E12503C13471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rgbClr val="BF9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7687ED32-77BF-4841-8205-C14A8F512EE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rgbClr val="BF9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8CB2B45-2C05-4CEF-931C-2D0342C698C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rgbClr val="BF9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F885B5E-952E-43E0-BDDE-E27C1CE5B95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rgbClr val="BF9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CCB42A18-D288-4E38-919E-67D261C05322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rgbClr val="BF9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97EDCAB2-1643-4DA5-A90B-8DA02D0430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rgbClr val="FFD0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16FF2C9F-58DC-F4A5-1EAA-9BE9D631D261}"/>
              </a:ext>
            </a:extLst>
          </p:cNvPr>
          <p:cNvPicPr>
            <a:picLocks noChangeAspect="1"/>
          </p:cNvPicPr>
          <p:nvPr userDrawn="1"/>
        </p:nvPicPr>
        <p:blipFill>
          <a:blip r:embed="rId25"/>
          <a:srcRect/>
          <a:stretch/>
        </p:blipFill>
        <p:spPr>
          <a:xfrm>
            <a:off x="0" y="6081408"/>
            <a:ext cx="3404212" cy="776592"/>
          </a:xfrm>
          <a:prstGeom prst="rect">
            <a:avLst/>
          </a:prstGeom>
        </p:spPr>
      </p:pic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B91CC4A-0A62-8CE4-DF57-654BF98653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CF4EED3D-B130-481A-8ECD-A0040EAC36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943280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85" r:id="rId2"/>
    <p:sldLayoutId id="2147483681" r:id="rId3"/>
    <p:sldLayoutId id="2147483688" r:id="rId4"/>
    <p:sldLayoutId id="2147483689" r:id="rId5"/>
    <p:sldLayoutId id="2147483676" r:id="rId6"/>
    <p:sldLayoutId id="2147483686" r:id="rId7"/>
    <p:sldLayoutId id="2147483687" r:id="rId8"/>
    <p:sldLayoutId id="2147483654" r:id="rId9"/>
    <p:sldLayoutId id="2147483673" r:id="rId10"/>
    <p:sldLayoutId id="2147483672" r:id="rId11"/>
    <p:sldLayoutId id="2147483668" r:id="rId12"/>
    <p:sldLayoutId id="2147483671" r:id="rId13"/>
    <p:sldLayoutId id="2147483682" r:id="rId14"/>
    <p:sldLayoutId id="2147483678" r:id="rId15"/>
    <p:sldLayoutId id="2147483674" r:id="rId16"/>
    <p:sldLayoutId id="2147483677" r:id="rId17"/>
    <p:sldLayoutId id="2147483652" r:id="rId18"/>
    <p:sldLayoutId id="2147483653" r:id="rId19"/>
    <p:sldLayoutId id="2147483679" r:id="rId20"/>
    <p:sldLayoutId id="2147483680" r:id="rId21"/>
    <p:sldLayoutId id="2147483684" r:id="rId22"/>
    <p:sldLayoutId id="2147483683" r:id="rId2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3200" b="0" i="0" kern="1200" cap="all" baseline="0" dirty="0">
          <a:solidFill>
            <a:schemeClr val="bg1"/>
          </a:solidFill>
          <a:effectLst/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spcAft>
          <a:spcPts val="600"/>
        </a:spcAft>
        <a:buFont typeface="Arial" panose="020B0604020202020204" pitchFamily="34" charset="0"/>
        <a:buNone/>
        <a:defRPr sz="2200" b="0" i="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600"/>
        </a:spcAft>
        <a:buClr>
          <a:srgbClr val="FFD030"/>
        </a:buClr>
        <a:buFont typeface="Wingdings" panose="05000000000000000000" pitchFamily="2" charset="2"/>
        <a:buChar char="§"/>
        <a:defRPr sz="2200" b="0" i="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39825" indent="-225425" algn="l" defTabSz="914400" rtl="0" eaLnBrk="1" latinLnBrk="0" hangingPunct="1">
        <a:lnSpc>
          <a:spcPct val="90000"/>
        </a:lnSpc>
        <a:spcBef>
          <a:spcPts val="500"/>
        </a:spcBef>
        <a:spcAft>
          <a:spcPts val="600"/>
        </a:spcAft>
        <a:buFont typeface="Wingdings" panose="05000000000000000000" pitchFamily="2" charset="2"/>
        <a:buChar char="§"/>
        <a:defRPr sz="2000" b="0" i="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600"/>
        </a:spcAft>
        <a:buFont typeface="Arial" panose="020B0604020202020204" pitchFamily="34" charset="0"/>
        <a:buChar char="–"/>
        <a:defRPr sz="1800" b="0" i="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600"/>
        </a:spcAft>
        <a:buFont typeface="Arial" panose="020B0604020202020204" pitchFamily="34" charset="0"/>
        <a:buChar char="•"/>
        <a:defRPr sz="1800" b="0" i="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64B688-E8F6-B76C-1F20-9DB7C7C11D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E23574FD-C4A7-31A8-340D-506F6C4833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118282"/>
            <a:ext cx="11338560" cy="492125"/>
          </a:xfrm>
        </p:spPr>
        <p:txBody>
          <a:bodyPr anchor="ctr">
            <a:normAutofit/>
          </a:bodyPr>
          <a:lstStyle/>
          <a:p>
            <a:pPr marL="457200" lvl="1" indent="0">
              <a:buNone/>
            </a:pPr>
            <a:endParaRPr lang="en-US" sz="1800" dirty="0"/>
          </a:p>
          <a:p>
            <a:pPr lvl="1"/>
            <a:endParaRPr lang="en-US" sz="1800" dirty="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64C635F9-CABB-DDE5-0083-2925EF7966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0"/>
            <a:ext cx="11338560" cy="1074058"/>
          </a:xfrm>
        </p:spPr>
        <p:txBody>
          <a:bodyPr anchor="b">
            <a:normAutofit/>
          </a:bodyPr>
          <a:lstStyle/>
          <a:p>
            <a:r>
              <a:rPr lang="en-US" dirty="0"/>
              <a:t>List of Participating Dialysis Cen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8D066485-1E40-1ED7-99C8-A0CFFD54FA34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9067800" y="6284325"/>
            <a:ext cx="2743200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901F1369-4AEB-4520-96C0-9F78886180C1}" type="slidenum">
              <a:rPr lang="en-US" smtClean="0"/>
              <a:pPr>
                <a:spcAft>
                  <a:spcPts val="600"/>
                </a:spcAft>
              </a:pPr>
              <a:t>1</a:t>
            </a:fld>
            <a:endParaRPr lang="en-US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61F3195A-D7AC-8933-4429-585F7F27E7F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6363208"/>
              </p:ext>
            </p:extLst>
          </p:nvPr>
        </p:nvGraphicFramePr>
        <p:xfrm>
          <a:off x="457200" y="1926535"/>
          <a:ext cx="11338562" cy="39373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90594">
                  <a:extLst>
                    <a:ext uri="{9D8B030D-6E8A-4147-A177-3AD203B41FA5}">
                      <a16:colId xmlns:a16="http://schemas.microsoft.com/office/drawing/2014/main" val="2697625678"/>
                    </a:ext>
                  </a:extLst>
                </a:gridCol>
                <a:gridCol w="2000095">
                  <a:extLst>
                    <a:ext uri="{9D8B030D-6E8A-4147-A177-3AD203B41FA5}">
                      <a16:colId xmlns:a16="http://schemas.microsoft.com/office/drawing/2014/main" val="1896566797"/>
                    </a:ext>
                  </a:extLst>
                </a:gridCol>
                <a:gridCol w="838780">
                  <a:extLst>
                    <a:ext uri="{9D8B030D-6E8A-4147-A177-3AD203B41FA5}">
                      <a16:colId xmlns:a16="http://schemas.microsoft.com/office/drawing/2014/main" val="3405201676"/>
                    </a:ext>
                  </a:extLst>
                </a:gridCol>
                <a:gridCol w="961800">
                  <a:extLst>
                    <a:ext uri="{9D8B030D-6E8A-4147-A177-3AD203B41FA5}">
                      <a16:colId xmlns:a16="http://schemas.microsoft.com/office/drawing/2014/main" val="2940429470"/>
                    </a:ext>
                  </a:extLst>
                </a:gridCol>
                <a:gridCol w="1501884">
                  <a:extLst>
                    <a:ext uri="{9D8B030D-6E8A-4147-A177-3AD203B41FA5}">
                      <a16:colId xmlns:a16="http://schemas.microsoft.com/office/drawing/2014/main" val="3986514166"/>
                    </a:ext>
                  </a:extLst>
                </a:gridCol>
                <a:gridCol w="1545409">
                  <a:extLst>
                    <a:ext uri="{9D8B030D-6E8A-4147-A177-3AD203B41FA5}">
                      <a16:colId xmlns:a16="http://schemas.microsoft.com/office/drawing/2014/main" val="1415491402"/>
                    </a:ext>
                  </a:extLst>
                </a:gridCol>
              </a:tblGrid>
              <a:tr h="283756">
                <a:tc gridSpan="6"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Bronx</a:t>
                      </a:r>
                      <a:endParaRPr lang="en-US" sz="1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6794770"/>
                  </a:ext>
                </a:extLst>
              </a:tr>
              <a:tr h="283756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Facility Name</a:t>
                      </a:r>
                      <a:endParaRPr lang="en-US" sz="1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Address</a:t>
                      </a:r>
                      <a:endParaRPr lang="en-US" sz="1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City</a:t>
                      </a:r>
                      <a:endParaRPr lang="en-US" sz="1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State</a:t>
                      </a:r>
                      <a:endParaRPr lang="en-US" sz="1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Zip Code</a:t>
                      </a:r>
                      <a:endParaRPr lang="en-US" sz="1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Phone</a:t>
                      </a:r>
                      <a:endParaRPr lang="en-US" sz="1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extLst>
                  <a:ext uri="{0D108BD9-81ED-4DB2-BD59-A6C34878D82A}">
                    <a16:rowId xmlns:a16="http://schemas.microsoft.com/office/drawing/2014/main" val="2918062473"/>
                  </a:ext>
                </a:extLst>
              </a:tr>
              <a:tr h="230348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Bronx Center for Renal Dialysis LLC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612 Allerton Av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Bronx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NY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10467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(718) 307-573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extLst>
                  <a:ext uri="{0D108BD9-81ED-4DB2-BD59-A6C34878D82A}">
                    <a16:rowId xmlns:a16="http://schemas.microsoft.com/office/drawing/2014/main" val="738471430"/>
                  </a:ext>
                </a:extLst>
              </a:tr>
              <a:tr h="230348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Bronx Center for Renal Dialysis LLC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1010 Underhill Avenu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Bronx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NY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1047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(718) 863-830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extLst>
                  <a:ext uri="{0D108BD9-81ED-4DB2-BD59-A6C34878D82A}">
                    <a16:rowId xmlns:a16="http://schemas.microsoft.com/office/drawing/2014/main" val="141012252"/>
                  </a:ext>
                </a:extLst>
              </a:tr>
              <a:tr h="230348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Bronx Center for Renal Dialysis LLC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170 Buffalo Avenu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Bronx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NY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1047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(718) 535-360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extLst>
                  <a:ext uri="{0D108BD9-81ED-4DB2-BD59-A6C34878D82A}">
                    <a16:rowId xmlns:a16="http://schemas.microsoft.com/office/drawing/2014/main" val="2811906620"/>
                  </a:ext>
                </a:extLst>
              </a:tr>
              <a:tr h="230348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Citadel Renal Center LLC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100 West Kingsbridge Road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Bronx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NY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10468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(718) 410-150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extLst>
                  <a:ext uri="{0D108BD9-81ED-4DB2-BD59-A6C34878D82A}">
                    <a16:rowId xmlns:a16="http://schemas.microsoft.com/office/drawing/2014/main" val="2016112115"/>
                  </a:ext>
                </a:extLst>
              </a:tr>
              <a:tr h="230348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Genesis Services, LLC DBA Advent Renal Care </a:t>
                      </a:r>
                      <a:endParaRPr lang="en-US" sz="1200" b="0" i="0" u="none" strike="noStrike">
                        <a:solidFill>
                          <a:srgbClr val="42424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3200 Baychester Avenue</a:t>
                      </a:r>
                      <a:endParaRPr lang="en-US" sz="1200" b="0" i="0" u="none" strike="noStrike">
                        <a:solidFill>
                          <a:srgbClr val="42424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Bronx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NY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10475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(718) 601-020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extLst>
                  <a:ext uri="{0D108BD9-81ED-4DB2-BD59-A6C34878D82A}">
                    <a16:rowId xmlns:a16="http://schemas.microsoft.com/office/drawing/2014/main" val="2286155275"/>
                  </a:ext>
                </a:extLst>
              </a:tr>
              <a:tr h="230348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Kings Harbor Health Services dba Kings Harbor Dialysis Center </a:t>
                      </a:r>
                      <a:endParaRPr lang="en-US" sz="1200" b="0" i="0" u="none" strike="noStrike">
                        <a:solidFill>
                          <a:srgbClr val="42424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2020 East Gun Hill Road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Bronx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NY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10469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(718) 320-1335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extLst>
                  <a:ext uri="{0D108BD9-81ED-4DB2-BD59-A6C34878D82A}">
                    <a16:rowId xmlns:a16="http://schemas.microsoft.com/office/drawing/2014/main" val="1733971516"/>
                  </a:ext>
                </a:extLst>
              </a:tr>
              <a:tr h="230348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Knickerbocker Dialysis, Inc dba Bronxchester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34 Marconi Street, Suite 11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Bronx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NY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10461-2755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(929) 286-528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extLst>
                  <a:ext uri="{0D108BD9-81ED-4DB2-BD59-A6C34878D82A}">
                    <a16:rowId xmlns:a16="http://schemas.microsoft.com/office/drawing/2014/main" val="3780597711"/>
                  </a:ext>
                </a:extLst>
              </a:tr>
              <a:tr h="230348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Knickerbocker Dialysis, Inc dba Melrose Dialysi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459 East 149th Street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Bronx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NY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10455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(718) 585-495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extLst>
                  <a:ext uri="{0D108BD9-81ED-4DB2-BD59-A6C34878D82A}">
                    <a16:rowId xmlns:a16="http://schemas.microsoft.com/office/drawing/2014/main" val="2764452459"/>
                  </a:ext>
                </a:extLst>
              </a:tr>
              <a:tr h="230348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Knickerbocker Dialysis, Inc. dba Allerton Dialysi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2554 White Plains Rd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Bronx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NY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10467-814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(718) 231-1285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extLst>
                  <a:ext uri="{0D108BD9-81ED-4DB2-BD59-A6C34878D82A}">
                    <a16:rowId xmlns:a16="http://schemas.microsoft.com/office/drawing/2014/main" val="39726816"/>
                  </a:ext>
                </a:extLst>
              </a:tr>
              <a:tr h="230348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Knickerbocker Dialysis, Inc. dba Boston Post Road Dialysis Center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4026 Boston Road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Bronx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NY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10475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(718) 862-9245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extLst>
                  <a:ext uri="{0D108BD9-81ED-4DB2-BD59-A6C34878D82A}">
                    <a16:rowId xmlns:a16="http://schemas.microsoft.com/office/drawing/2014/main" val="420406633"/>
                  </a:ext>
                </a:extLst>
              </a:tr>
              <a:tr h="230348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Knickerbocker Dialysis, Inc. dba Bronx Dialysis Center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1615 Eastchester Road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Bronx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NY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1046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(718) 892-770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extLst>
                  <a:ext uri="{0D108BD9-81ED-4DB2-BD59-A6C34878D82A}">
                    <a16:rowId xmlns:a16="http://schemas.microsoft.com/office/drawing/2014/main" val="1446087982"/>
                  </a:ext>
                </a:extLst>
              </a:tr>
              <a:tr h="230348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Knickerbocker Dialysis, Inc. dba Bronx River Dialysi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1616 Bronxdale Avenu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Bronx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NY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10462-330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(718) 430-980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extLst>
                  <a:ext uri="{0D108BD9-81ED-4DB2-BD59-A6C34878D82A}">
                    <a16:rowId xmlns:a16="http://schemas.microsoft.com/office/drawing/2014/main" val="2789855436"/>
                  </a:ext>
                </a:extLst>
              </a:tr>
              <a:tr h="230348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Knickerbocker Dialysis, Inc. dba Hutchinson River Dialysi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2331 Eastchester Road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Bronx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NY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10469-591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(718) 547-061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extLst>
                  <a:ext uri="{0D108BD9-81ED-4DB2-BD59-A6C34878D82A}">
                    <a16:rowId xmlns:a16="http://schemas.microsoft.com/office/drawing/2014/main" val="923901607"/>
                  </a:ext>
                </a:extLst>
              </a:tr>
              <a:tr h="230348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Knickerbocker Dialysis, Inc. dba Laconia Dialysi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3440 Boston Road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Bronx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NY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10469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(718) 798-0538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96" marR="9596" marT="9596" marB="0" anchor="b"/>
                </a:tc>
                <a:extLst>
                  <a:ext uri="{0D108BD9-81ED-4DB2-BD59-A6C34878D82A}">
                    <a16:rowId xmlns:a16="http://schemas.microsoft.com/office/drawing/2014/main" val="1246710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009801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D1851D62-CB14-F54B-CDB3-77F5825622C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118282"/>
            <a:ext cx="11338560" cy="492125"/>
          </a:xfrm>
        </p:spPr>
        <p:txBody>
          <a:bodyPr anchor="ctr">
            <a:normAutofit/>
          </a:bodyPr>
          <a:lstStyle/>
          <a:p>
            <a:pPr marL="457200" lvl="1" indent="0">
              <a:buNone/>
            </a:pPr>
            <a:endParaRPr lang="en-US" sz="1800"/>
          </a:p>
          <a:p>
            <a:pPr lvl="1"/>
            <a:endParaRPr lang="en-US" sz="180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BA83C0F8-7B44-F6C2-173C-9CA9012CF2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0"/>
            <a:ext cx="11338560" cy="1074058"/>
          </a:xfrm>
        </p:spPr>
        <p:txBody>
          <a:bodyPr anchor="b">
            <a:normAutofit/>
          </a:bodyPr>
          <a:lstStyle/>
          <a:p>
            <a:r>
              <a:rPr lang="en-US" dirty="0"/>
              <a:t>List of Participating Dialysis Cen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03917E1-3455-9078-53B7-8B631C00D69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9067800" y="6284325"/>
            <a:ext cx="2743200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901F1369-4AEB-4520-96C0-9F78886180C1}" type="slidenum">
              <a:rPr lang="en-US" smtClean="0"/>
              <a:pPr>
                <a:spcAft>
                  <a:spcPts val="600"/>
                </a:spcAft>
              </a:pPr>
              <a:t>2</a:t>
            </a:fld>
            <a:endParaRPr lang="en-US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673F8D8F-3B96-52C8-0419-567135156B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7714430"/>
              </p:ext>
            </p:extLst>
          </p:nvPr>
        </p:nvGraphicFramePr>
        <p:xfrm>
          <a:off x="996332" y="1652610"/>
          <a:ext cx="10260298" cy="434023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18830">
                  <a:extLst>
                    <a:ext uri="{9D8B030D-6E8A-4147-A177-3AD203B41FA5}">
                      <a16:colId xmlns:a16="http://schemas.microsoft.com/office/drawing/2014/main" val="2453338783"/>
                    </a:ext>
                  </a:extLst>
                </a:gridCol>
                <a:gridCol w="2350624">
                  <a:extLst>
                    <a:ext uri="{9D8B030D-6E8A-4147-A177-3AD203B41FA5}">
                      <a16:colId xmlns:a16="http://schemas.microsoft.com/office/drawing/2014/main" val="3298527641"/>
                    </a:ext>
                  </a:extLst>
                </a:gridCol>
                <a:gridCol w="520056">
                  <a:extLst>
                    <a:ext uri="{9D8B030D-6E8A-4147-A177-3AD203B41FA5}">
                      <a16:colId xmlns:a16="http://schemas.microsoft.com/office/drawing/2014/main" val="1085726244"/>
                    </a:ext>
                  </a:extLst>
                </a:gridCol>
                <a:gridCol w="596330">
                  <a:extLst>
                    <a:ext uri="{9D8B030D-6E8A-4147-A177-3AD203B41FA5}">
                      <a16:colId xmlns:a16="http://schemas.microsoft.com/office/drawing/2014/main" val="2615714399"/>
                    </a:ext>
                  </a:extLst>
                </a:gridCol>
                <a:gridCol w="931190">
                  <a:extLst>
                    <a:ext uri="{9D8B030D-6E8A-4147-A177-3AD203B41FA5}">
                      <a16:colId xmlns:a16="http://schemas.microsoft.com/office/drawing/2014/main" val="2677742436"/>
                    </a:ext>
                  </a:extLst>
                </a:gridCol>
                <a:gridCol w="1143268">
                  <a:extLst>
                    <a:ext uri="{9D8B030D-6E8A-4147-A177-3AD203B41FA5}">
                      <a16:colId xmlns:a16="http://schemas.microsoft.com/office/drawing/2014/main" val="2097434943"/>
                    </a:ext>
                  </a:extLst>
                </a:gridCol>
              </a:tblGrid>
              <a:tr h="284659">
                <a:tc gridSpan="6"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Bronx</a:t>
                      </a:r>
                      <a:endParaRPr lang="en-US" sz="1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065823"/>
                  </a:ext>
                </a:extLst>
              </a:tr>
              <a:tr h="284659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Facility Name</a:t>
                      </a:r>
                      <a:endParaRPr lang="en-US" sz="1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Address</a:t>
                      </a:r>
                      <a:endParaRPr lang="en-US" sz="1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City</a:t>
                      </a:r>
                      <a:endParaRPr lang="en-US" sz="1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State</a:t>
                      </a:r>
                      <a:endParaRPr lang="en-US" sz="1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Zip Code</a:t>
                      </a:r>
                      <a:endParaRPr lang="en-US" sz="1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Phone</a:t>
                      </a:r>
                      <a:endParaRPr lang="en-US" sz="1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extLst>
                  <a:ext uri="{0D108BD9-81ED-4DB2-BD59-A6C34878D82A}">
                    <a16:rowId xmlns:a16="http://schemas.microsoft.com/office/drawing/2014/main" val="2109055881"/>
                  </a:ext>
                </a:extLst>
              </a:tr>
              <a:tr h="231081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Knickerbocker Dialysis, Inc. dba Longwood Dialysi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931 Bruckner Boulevard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Bronx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NY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10459-4525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(718) 378-092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extLst>
                  <a:ext uri="{0D108BD9-81ED-4DB2-BD59-A6C34878D82A}">
                    <a16:rowId xmlns:a16="http://schemas.microsoft.com/office/drawing/2014/main" val="226387762"/>
                  </a:ext>
                </a:extLst>
              </a:tr>
              <a:tr h="231081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Knickerbocker Dialysis, Inc. dba Riverdale Dialysis Center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170 West 233rd Street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Bronx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NY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10463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(718) 884-430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extLst>
                  <a:ext uri="{0D108BD9-81ED-4DB2-BD59-A6C34878D82A}">
                    <a16:rowId xmlns:a16="http://schemas.microsoft.com/office/drawing/2014/main" val="4061220802"/>
                  </a:ext>
                </a:extLst>
              </a:tr>
              <a:tr h="231081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Knickerbocker Dialysis, Inc. dba Soundview Dialysis Center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1109 Rosedale Av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Bronx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NY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10472-729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(347) 769-729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extLst>
                  <a:ext uri="{0D108BD9-81ED-4DB2-BD59-A6C34878D82A}">
                    <a16:rowId xmlns:a16="http://schemas.microsoft.com/office/drawing/2014/main" val="1147570809"/>
                  </a:ext>
                </a:extLst>
              </a:tr>
              <a:tr h="231081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Knickerbocker Dialysis, Inc. dba South Bronx Dialysis Center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1940 Webster Avenu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Bronx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NY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10457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(718) 716-3999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extLst>
                  <a:ext uri="{0D108BD9-81ED-4DB2-BD59-A6C34878D82A}">
                    <a16:rowId xmlns:a16="http://schemas.microsoft.com/office/drawing/2014/main" val="462151309"/>
                  </a:ext>
                </a:extLst>
              </a:tr>
              <a:tr h="231081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Knickerbocker Dialysis, Inc. dba University Hts </a:t>
                      </a:r>
                      <a:endParaRPr lang="en-US" sz="1200" b="0" i="0" u="none" strike="noStrike">
                        <a:solidFill>
                          <a:srgbClr val="42424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2190 Jerome Avenu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Bronx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NY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10453-1815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(718) 584-5746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extLst>
                  <a:ext uri="{0D108BD9-81ED-4DB2-BD59-A6C34878D82A}">
                    <a16:rowId xmlns:a16="http://schemas.microsoft.com/office/drawing/2014/main" val="48830992"/>
                  </a:ext>
                </a:extLst>
              </a:tr>
              <a:tr h="231081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Knickerbocker Dialysis, Inc. dba Waters Place Dialysi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1733 Eastchester Road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Bronx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NY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1046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(718) 822-1968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extLst>
                  <a:ext uri="{0D108BD9-81ED-4DB2-BD59-A6C34878D82A}">
                    <a16:rowId xmlns:a16="http://schemas.microsoft.com/office/drawing/2014/main" val="2638707163"/>
                  </a:ext>
                </a:extLst>
              </a:tr>
              <a:tr h="231081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Knickerbocker Dialysis, Inc. dba West Farms Dailysis </a:t>
                      </a:r>
                      <a:endParaRPr lang="en-US" sz="1200" b="0" i="0" u="none" strike="noStrike">
                        <a:solidFill>
                          <a:srgbClr val="42424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1820 East Tremont Avenu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Bronx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NY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10460-313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(718) 824-0245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extLst>
                  <a:ext uri="{0D108BD9-81ED-4DB2-BD59-A6C34878D82A}">
                    <a16:rowId xmlns:a16="http://schemas.microsoft.com/office/drawing/2014/main" val="3000771716"/>
                  </a:ext>
                </a:extLst>
              </a:tr>
              <a:tr h="231081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Knickerbocker Dialysis, Inc. dba Williamsbridge Home Dialysis Center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3525 White Plains Road, Suite B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Bronx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NY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10467-5705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(718) 547-456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extLst>
                  <a:ext uri="{0D108BD9-81ED-4DB2-BD59-A6C34878D82A}">
                    <a16:rowId xmlns:a16="http://schemas.microsoft.com/office/drawing/2014/main" val="587861673"/>
                  </a:ext>
                </a:extLst>
              </a:tr>
              <a:tr h="409674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Liberty RC, Inc. dba Mount Hope Dialysi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1940 Webster Avenue, 2nd Floor, Suite 20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Bronx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NY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10457-426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(718) 901-912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extLst>
                  <a:ext uri="{0D108BD9-81ED-4DB2-BD59-A6C34878D82A}">
                    <a16:rowId xmlns:a16="http://schemas.microsoft.com/office/drawing/2014/main" val="2416863579"/>
                  </a:ext>
                </a:extLst>
              </a:tr>
              <a:tr h="409674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Morningside Dialysis Center, LLC dba Cassena Care Dialysis at Morningsid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1000 Pelham Parkway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Bronx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NY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1046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(718) 904-6518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extLst>
                  <a:ext uri="{0D108BD9-81ED-4DB2-BD59-A6C34878D82A}">
                    <a16:rowId xmlns:a16="http://schemas.microsoft.com/office/drawing/2014/main" val="1206872046"/>
                  </a:ext>
                </a:extLst>
              </a:tr>
              <a:tr h="231081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 dirty="0">
                          <a:effectLst/>
                        </a:rPr>
                        <a:t>New York Renal Associate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3468 Park Avenu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Bronx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NY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10456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(718) 401-2836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extLst>
                  <a:ext uri="{0D108BD9-81ED-4DB2-BD59-A6C34878D82A}">
                    <a16:rowId xmlns:a16="http://schemas.microsoft.com/office/drawing/2014/main" val="2828893885"/>
                  </a:ext>
                </a:extLst>
              </a:tr>
              <a:tr h="231081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Newtown Dialysis Center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1160 Teller Av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Bronx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NY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10456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(347) 312-303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extLst>
                  <a:ext uri="{0D108BD9-81ED-4DB2-BD59-A6C34878D82A}">
                    <a16:rowId xmlns:a16="http://schemas.microsoft.com/office/drawing/2014/main" val="885051053"/>
                  </a:ext>
                </a:extLst>
              </a:tr>
              <a:tr h="231081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Woodmere Dialysis, LLC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801 Co-Op City Blvd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Bronx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NY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10475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(718) 794-740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extLst>
                  <a:ext uri="{0D108BD9-81ED-4DB2-BD59-A6C34878D82A}">
                    <a16:rowId xmlns:a16="http://schemas.microsoft.com/office/drawing/2014/main" val="2494223584"/>
                  </a:ext>
                </a:extLst>
              </a:tr>
              <a:tr h="409674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Workmens' Circle Dialysis Management, LLC dba Workmen's Circle Dialysis Center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3155 Grace Avenu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Bronx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NY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10469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 dirty="0">
                          <a:effectLst/>
                        </a:rPr>
                        <a:t>(718) 379-810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627" marR="9627" marT="9627" marB="0" anchor="b"/>
                </a:tc>
                <a:extLst>
                  <a:ext uri="{0D108BD9-81ED-4DB2-BD59-A6C34878D82A}">
                    <a16:rowId xmlns:a16="http://schemas.microsoft.com/office/drawing/2014/main" val="19828616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738910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D1851D62-CB14-F54B-CDB3-77F5825622C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118282"/>
            <a:ext cx="11338560" cy="492125"/>
          </a:xfrm>
        </p:spPr>
        <p:txBody>
          <a:bodyPr anchor="ctr">
            <a:normAutofit/>
          </a:bodyPr>
          <a:lstStyle/>
          <a:p>
            <a:pPr marL="457200" lvl="1" indent="0">
              <a:buNone/>
            </a:pPr>
            <a:endParaRPr lang="en-US" sz="1800"/>
          </a:p>
          <a:p>
            <a:pPr lvl="1"/>
            <a:endParaRPr lang="en-US" sz="180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BA83C0F8-7B44-F6C2-173C-9CA9012CF2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0"/>
            <a:ext cx="11338560" cy="1074058"/>
          </a:xfrm>
        </p:spPr>
        <p:txBody>
          <a:bodyPr anchor="b">
            <a:normAutofit/>
          </a:bodyPr>
          <a:lstStyle/>
          <a:p>
            <a:r>
              <a:rPr lang="en-US" dirty="0"/>
              <a:t>List of Participating Dialysis Cen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03917E1-3455-9078-53B7-8B631C00D69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9067800" y="6284325"/>
            <a:ext cx="2743200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901F1369-4AEB-4520-96C0-9F78886180C1}" type="slidenum">
              <a:rPr lang="en-US" smtClean="0"/>
              <a:pPr>
                <a:spcAft>
                  <a:spcPts val="600"/>
                </a:spcAft>
              </a:pPr>
              <a:t>3</a:t>
            </a:fld>
            <a:endParaRPr lang="en-US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E7FEF397-306E-64A0-7EBE-A40D5BB889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6573929"/>
              </p:ext>
            </p:extLst>
          </p:nvPr>
        </p:nvGraphicFramePr>
        <p:xfrm>
          <a:off x="933433" y="1652610"/>
          <a:ext cx="10386095" cy="43402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18459">
                  <a:extLst>
                    <a:ext uri="{9D8B030D-6E8A-4147-A177-3AD203B41FA5}">
                      <a16:colId xmlns:a16="http://schemas.microsoft.com/office/drawing/2014/main" val="3664318187"/>
                    </a:ext>
                  </a:extLst>
                </a:gridCol>
                <a:gridCol w="1592219">
                  <a:extLst>
                    <a:ext uri="{9D8B030D-6E8A-4147-A177-3AD203B41FA5}">
                      <a16:colId xmlns:a16="http://schemas.microsoft.com/office/drawing/2014/main" val="1490727904"/>
                    </a:ext>
                  </a:extLst>
                </a:gridCol>
                <a:gridCol w="1037811">
                  <a:extLst>
                    <a:ext uri="{9D8B030D-6E8A-4147-A177-3AD203B41FA5}">
                      <a16:colId xmlns:a16="http://schemas.microsoft.com/office/drawing/2014/main" val="1220872844"/>
                    </a:ext>
                  </a:extLst>
                </a:gridCol>
                <a:gridCol w="886930">
                  <a:extLst>
                    <a:ext uri="{9D8B030D-6E8A-4147-A177-3AD203B41FA5}">
                      <a16:colId xmlns:a16="http://schemas.microsoft.com/office/drawing/2014/main" val="3180353893"/>
                    </a:ext>
                  </a:extLst>
                </a:gridCol>
                <a:gridCol w="1374003">
                  <a:extLst>
                    <a:ext uri="{9D8B030D-6E8A-4147-A177-3AD203B41FA5}">
                      <a16:colId xmlns:a16="http://schemas.microsoft.com/office/drawing/2014/main" val="317522199"/>
                    </a:ext>
                  </a:extLst>
                </a:gridCol>
                <a:gridCol w="1176673">
                  <a:extLst>
                    <a:ext uri="{9D8B030D-6E8A-4147-A177-3AD203B41FA5}">
                      <a16:colId xmlns:a16="http://schemas.microsoft.com/office/drawing/2014/main" val="241180195"/>
                    </a:ext>
                  </a:extLst>
                </a:gridCol>
              </a:tblGrid>
              <a:tr h="261595">
                <a:tc gridSpan="6"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Brooklyn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74287217"/>
                  </a:ext>
                </a:extLst>
              </a:tr>
              <a:tr h="26159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Facility Name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Address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City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State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Zip Code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Phone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extLst>
                  <a:ext uri="{0D108BD9-81ED-4DB2-BD59-A6C34878D82A}">
                    <a16:rowId xmlns:a16="http://schemas.microsoft.com/office/drawing/2014/main" val="4265278218"/>
                  </a:ext>
                </a:extLst>
              </a:tr>
              <a:tr h="212058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Bronx Center for Renal Dialysis LLC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722 Myrtle Ave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Brookly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NY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1120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(718) 930-0177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extLst>
                  <a:ext uri="{0D108BD9-81ED-4DB2-BD59-A6C34878D82A}">
                    <a16:rowId xmlns:a16="http://schemas.microsoft.com/office/drawing/2014/main" val="2865767924"/>
                  </a:ext>
                </a:extLst>
              </a:tr>
              <a:tr h="212058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Brooklyn Dialysis Center LLC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915 Dean Street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Brookly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NY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1123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(347) 915-214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extLst>
                  <a:ext uri="{0D108BD9-81ED-4DB2-BD59-A6C34878D82A}">
                    <a16:rowId xmlns:a16="http://schemas.microsoft.com/office/drawing/2014/main" val="1830911850"/>
                  </a:ext>
                </a:extLst>
              </a:tr>
              <a:tr h="212058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Central Brooklyn Dialysis Center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818 Sterling Place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Brookly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NY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1121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(718) 735-666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extLst>
                  <a:ext uri="{0D108BD9-81ED-4DB2-BD59-A6C34878D82A}">
                    <a16:rowId xmlns:a16="http://schemas.microsoft.com/office/drawing/2014/main" val="3122161779"/>
                  </a:ext>
                </a:extLst>
              </a:tr>
              <a:tr h="212058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Ditmas Park Dialysis Center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2107 Ditmas Avenue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Brookly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NY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1122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(718) 462-810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extLst>
                  <a:ext uri="{0D108BD9-81ED-4DB2-BD59-A6C34878D82A}">
                    <a16:rowId xmlns:a16="http://schemas.microsoft.com/office/drawing/2014/main" val="1411458176"/>
                  </a:ext>
                </a:extLst>
              </a:tr>
              <a:tr h="212058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Doral Dialysis LLC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1797 Pitkin Ave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Brookly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NY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1121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(718) 971-184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extLst>
                  <a:ext uri="{0D108BD9-81ED-4DB2-BD59-A6C34878D82A}">
                    <a16:rowId xmlns:a16="http://schemas.microsoft.com/office/drawing/2014/main" val="2133710473"/>
                  </a:ext>
                </a:extLst>
              </a:tr>
              <a:tr h="212058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Empire State DC, Inc. dba Utica  Avenue Dialysis Center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1305 Utica Ave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Brookly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NY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11203-591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(718) 629-390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extLst>
                  <a:ext uri="{0D108BD9-81ED-4DB2-BD59-A6C34878D82A}">
                    <a16:rowId xmlns:a16="http://schemas.microsoft.com/office/drawing/2014/main" val="3012787612"/>
                  </a:ext>
                </a:extLst>
              </a:tr>
              <a:tr h="212058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Knickerbocker Dialysis Inc dba Kings Highway </a:t>
                      </a:r>
                      <a:endParaRPr lang="en-US" sz="1100" b="0" i="0" u="none" strike="noStrike">
                        <a:solidFill>
                          <a:srgbClr val="42424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5518 Avenue 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Brookly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NY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1123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(718) 258-060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extLst>
                  <a:ext uri="{0D108BD9-81ED-4DB2-BD59-A6C34878D82A}">
                    <a16:rowId xmlns:a16="http://schemas.microsoft.com/office/drawing/2014/main" val="1579038221"/>
                  </a:ext>
                </a:extLst>
              </a:tr>
              <a:tr h="212058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Knickerbocker Dialysis, Inc dba Wingate Dialysis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550 Kingston Avenue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Brookly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NY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1120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(718) 221-534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extLst>
                  <a:ext uri="{0D108BD9-81ED-4DB2-BD59-A6C34878D82A}">
                    <a16:rowId xmlns:a16="http://schemas.microsoft.com/office/drawing/2014/main" val="886683155"/>
                  </a:ext>
                </a:extLst>
              </a:tr>
              <a:tr h="212058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Knickerbocker Dialysis, Inc. dba Borough Park Dialysis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4102 13th Avenue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Brookly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NY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1121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(718) 435-211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extLst>
                  <a:ext uri="{0D108BD9-81ED-4DB2-BD59-A6C34878D82A}">
                    <a16:rowId xmlns:a16="http://schemas.microsoft.com/office/drawing/2014/main" val="4218412282"/>
                  </a:ext>
                </a:extLst>
              </a:tr>
              <a:tr h="212058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Knickerbocker Dialysis, Inc. dba Brooklyn Community Dialysis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730 64th St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Brookly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NY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11220-471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(718) 759-012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extLst>
                  <a:ext uri="{0D108BD9-81ED-4DB2-BD59-A6C34878D82A}">
                    <a16:rowId xmlns:a16="http://schemas.microsoft.com/office/drawing/2014/main" val="792636348"/>
                  </a:ext>
                </a:extLst>
              </a:tr>
              <a:tr h="212058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Knickerbocker Dialysis, Inc. dba Clinton Hill Dialysis </a:t>
                      </a:r>
                      <a:endParaRPr lang="en-US" sz="1100" b="0" i="0" u="none" strike="noStrike">
                        <a:solidFill>
                          <a:srgbClr val="42424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1275 Bedford Ave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Brookly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NY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1121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(718) 623-063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extLst>
                  <a:ext uri="{0D108BD9-81ED-4DB2-BD59-A6C34878D82A}">
                    <a16:rowId xmlns:a16="http://schemas.microsoft.com/office/drawing/2014/main" val="2860420665"/>
                  </a:ext>
                </a:extLst>
              </a:tr>
              <a:tr h="212058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Knickerbocker Dialysis, Inc. dba East New York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54 New Lots Avenue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Brookly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NY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11212-693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(718) 345-731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extLst>
                  <a:ext uri="{0D108BD9-81ED-4DB2-BD59-A6C34878D82A}">
                    <a16:rowId xmlns:a16="http://schemas.microsoft.com/office/drawing/2014/main" val="1125826962"/>
                  </a:ext>
                </a:extLst>
              </a:tr>
              <a:tr h="212058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Knickerbocker Dialysis, Inc. dba Flatlands Dialysis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1641 E 16th St Fl 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Brookly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NY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11229-1107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(718) 645-161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extLst>
                  <a:ext uri="{0D108BD9-81ED-4DB2-BD59-A6C34878D82A}">
                    <a16:rowId xmlns:a16="http://schemas.microsoft.com/office/drawing/2014/main" val="2821576456"/>
                  </a:ext>
                </a:extLst>
              </a:tr>
              <a:tr h="212058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Knickerbocker Dialysis, Inc. dba Greenpoint Dialysis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146 Meserole Street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Brookly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NY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11206-258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(718) 388-603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extLst>
                  <a:ext uri="{0D108BD9-81ED-4DB2-BD59-A6C34878D82A}">
                    <a16:rowId xmlns:a16="http://schemas.microsoft.com/office/drawing/2014/main" val="3988824678"/>
                  </a:ext>
                </a:extLst>
              </a:tr>
              <a:tr h="212058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Knickerbocker Dialysis, Inc. dba Millennium Dialysis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1408 Ocean Ave, 2nd Fl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Brookly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NY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1123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(718) 677-760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extLst>
                  <a:ext uri="{0D108BD9-81ED-4DB2-BD59-A6C34878D82A}">
                    <a16:rowId xmlns:a16="http://schemas.microsoft.com/office/drawing/2014/main" val="1504253263"/>
                  </a:ext>
                </a:extLst>
              </a:tr>
              <a:tr h="212058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Knickerbocker Dialysis, Inc. dba North Ocean Avenue Dialysis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10 Snyder Avenue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Brookly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NY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1122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(718) 282-957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extLst>
                  <a:ext uri="{0D108BD9-81ED-4DB2-BD59-A6C34878D82A}">
                    <a16:rowId xmlns:a16="http://schemas.microsoft.com/office/drawing/2014/main" val="915991529"/>
                  </a:ext>
                </a:extLst>
              </a:tr>
              <a:tr h="212058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Knickerbocker Dialysis, Inc. dba Sheepshead Bay Renal Care Center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26 Brighton 11th Street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Brookly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NY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1123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(718) 743-595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extLst>
                  <a:ext uri="{0D108BD9-81ED-4DB2-BD59-A6C34878D82A}">
                    <a16:rowId xmlns:a16="http://schemas.microsoft.com/office/drawing/2014/main" val="612420955"/>
                  </a:ext>
                </a:extLst>
              </a:tr>
              <a:tr h="212058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Knickerbocker Dialysis, Inc. dba Stuyvesant Hts </a:t>
                      </a:r>
                      <a:endParaRPr lang="en-US" sz="1100" b="0" i="0" u="none" strike="noStrike">
                        <a:solidFill>
                          <a:srgbClr val="42424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2064 Atlantic Avenue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Brookly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NY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11233-316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(718) 346-047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6" marR="7306" marT="7306" marB="0" anchor="b"/>
                </a:tc>
                <a:extLst>
                  <a:ext uri="{0D108BD9-81ED-4DB2-BD59-A6C34878D82A}">
                    <a16:rowId xmlns:a16="http://schemas.microsoft.com/office/drawing/2014/main" val="9864082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778487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D1851D62-CB14-F54B-CDB3-77F5825622C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118282"/>
            <a:ext cx="11338560" cy="492125"/>
          </a:xfrm>
        </p:spPr>
        <p:txBody>
          <a:bodyPr anchor="ctr">
            <a:normAutofit/>
          </a:bodyPr>
          <a:lstStyle/>
          <a:p>
            <a:pPr marL="457200" lvl="1" indent="0">
              <a:buNone/>
            </a:pPr>
            <a:endParaRPr lang="en-US" sz="1800"/>
          </a:p>
          <a:p>
            <a:pPr lvl="1"/>
            <a:endParaRPr lang="en-US" sz="180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BA83C0F8-7B44-F6C2-173C-9CA9012CF2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0"/>
            <a:ext cx="11338560" cy="1074058"/>
          </a:xfrm>
        </p:spPr>
        <p:txBody>
          <a:bodyPr anchor="b">
            <a:normAutofit/>
          </a:bodyPr>
          <a:lstStyle/>
          <a:p>
            <a:r>
              <a:rPr lang="en-US" dirty="0"/>
              <a:t>List of Participating Dialysis Cen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03917E1-3455-9078-53B7-8B631C00D69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9067800" y="6284325"/>
            <a:ext cx="2743200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901F1369-4AEB-4520-96C0-9F78886180C1}" type="slidenum">
              <a:rPr lang="en-US" smtClean="0"/>
              <a:pPr>
                <a:spcAft>
                  <a:spcPts val="600"/>
                </a:spcAft>
              </a:pPr>
              <a:t>4</a:t>
            </a:fld>
            <a:endParaRPr lang="en-US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46CBF9A-226B-A019-EE7A-A414C362FD6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4012378"/>
              </p:ext>
            </p:extLst>
          </p:nvPr>
        </p:nvGraphicFramePr>
        <p:xfrm>
          <a:off x="766284" y="1652610"/>
          <a:ext cx="10720394" cy="43402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33012">
                  <a:extLst>
                    <a:ext uri="{9D8B030D-6E8A-4147-A177-3AD203B41FA5}">
                      <a16:colId xmlns:a16="http://schemas.microsoft.com/office/drawing/2014/main" val="700490875"/>
                    </a:ext>
                  </a:extLst>
                </a:gridCol>
                <a:gridCol w="2056832">
                  <a:extLst>
                    <a:ext uri="{9D8B030D-6E8A-4147-A177-3AD203B41FA5}">
                      <a16:colId xmlns:a16="http://schemas.microsoft.com/office/drawing/2014/main" val="2617251376"/>
                    </a:ext>
                  </a:extLst>
                </a:gridCol>
                <a:gridCol w="1111041">
                  <a:extLst>
                    <a:ext uri="{9D8B030D-6E8A-4147-A177-3AD203B41FA5}">
                      <a16:colId xmlns:a16="http://schemas.microsoft.com/office/drawing/2014/main" val="834337974"/>
                    </a:ext>
                  </a:extLst>
                </a:gridCol>
                <a:gridCol w="906473">
                  <a:extLst>
                    <a:ext uri="{9D8B030D-6E8A-4147-A177-3AD203B41FA5}">
                      <a16:colId xmlns:a16="http://schemas.microsoft.com/office/drawing/2014/main" val="1908564758"/>
                    </a:ext>
                  </a:extLst>
                </a:gridCol>
                <a:gridCol w="1416562">
                  <a:extLst>
                    <a:ext uri="{9D8B030D-6E8A-4147-A177-3AD203B41FA5}">
                      <a16:colId xmlns:a16="http://schemas.microsoft.com/office/drawing/2014/main" val="439293397"/>
                    </a:ext>
                  </a:extLst>
                </a:gridCol>
                <a:gridCol w="1796474">
                  <a:extLst>
                    <a:ext uri="{9D8B030D-6E8A-4147-A177-3AD203B41FA5}">
                      <a16:colId xmlns:a16="http://schemas.microsoft.com/office/drawing/2014/main" val="3134551097"/>
                    </a:ext>
                  </a:extLst>
                </a:gridCol>
              </a:tblGrid>
              <a:tr h="434214">
                <a:tc gridSpan="6"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2300" u="none" strike="noStrike">
                          <a:effectLst/>
                        </a:rPr>
                        <a:t>Brooklyn</a:t>
                      </a:r>
                      <a:endParaRPr lang="en-US" sz="2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940" marR="15940" marT="15940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63522972"/>
                  </a:ext>
                </a:extLst>
              </a:tr>
              <a:tr h="434214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2300" u="none" strike="noStrike">
                          <a:effectLst/>
                        </a:rPr>
                        <a:t>Facility Name</a:t>
                      </a:r>
                      <a:endParaRPr lang="en-US" sz="2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940" marR="15940" marT="15940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2300" u="none" strike="noStrike">
                          <a:effectLst/>
                        </a:rPr>
                        <a:t>Address</a:t>
                      </a:r>
                      <a:endParaRPr lang="en-US" sz="2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940" marR="15940" marT="15940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2300" u="none" strike="noStrike">
                          <a:effectLst/>
                        </a:rPr>
                        <a:t>City</a:t>
                      </a:r>
                      <a:endParaRPr lang="en-US" sz="2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940" marR="15940" marT="15940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2300" u="none" strike="noStrike">
                          <a:effectLst/>
                        </a:rPr>
                        <a:t>State</a:t>
                      </a:r>
                      <a:endParaRPr lang="en-US" sz="2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940" marR="15940" marT="15940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2300" u="none" strike="noStrike">
                          <a:effectLst/>
                        </a:rPr>
                        <a:t>Zip Code</a:t>
                      </a:r>
                      <a:endParaRPr lang="en-US" sz="2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940" marR="15940" marT="15940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2300" u="none" strike="noStrike">
                          <a:effectLst/>
                        </a:rPr>
                        <a:t>Phone</a:t>
                      </a:r>
                      <a:endParaRPr lang="en-US" sz="2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940" marR="15940" marT="15940" marB="0" anchor="b"/>
                </a:tc>
                <a:extLst>
                  <a:ext uri="{0D108BD9-81ED-4DB2-BD59-A6C34878D82A}">
                    <a16:rowId xmlns:a16="http://schemas.microsoft.com/office/drawing/2014/main" val="3004522540"/>
                  </a:ext>
                </a:extLst>
              </a:tr>
              <a:tr h="63825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800" u="none" strike="noStrike">
                          <a:effectLst/>
                        </a:rPr>
                        <a:t>Liberty RC, Inc. dba Dyker Heights Dialysis Center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940" marR="15940" marT="15940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800" u="none" strike="noStrike">
                          <a:effectLst/>
                        </a:rPr>
                        <a:t>1435 86th Street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940" marR="15940" marT="15940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800" u="none" strike="noStrike">
                          <a:effectLst/>
                        </a:rPr>
                        <a:t>Brooklyn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940" marR="15940" marT="15940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800" u="none" strike="noStrike">
                          <a:effectLst/>
                        </a:rPr>
                        <a:t>NY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940" marR="15940" marT="15940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800" u="none" strike="noStrike">
                          <a:effectLst/>
                        </a:rPr>
                        <a:t>11228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940" marR="15940" marT="15940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800" u="none" strike="noStrike">
                          <a:effectLst/>
                        </a:rPr>
                        <a:t>(718) 256-58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940" marR="15940" marT="15940" marB="0" anchor="b"/>
                </a:tc>
                <a:extLst>
                  <a:ext uri="{0D108BD9-81ED-4DB2-BD59-A6C34878D82A}">
                    <a16:rowId xmlns:a16="http://schemas.microsoft.com/office/drawing/2014/main" val="1094795386"/>
                  </a:ext>
                </a:extLst>
              </a:tr>
              <a:tr h="63825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800" u="none" strike="noStrike">
                          <a:effectLst/>
                        </a:rPr>
                        <a:t>New York Artificial Kidney Center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940" marR="15940" marT="15940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800" u="none" strike="noStrike">
                          <a:effectLst/>
                        </a:rPr>
                        <a:t>2701 Emmons Ave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940" marR="15940" marT="15940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800" u="none" strike="noStrike">
                          <a:effectLst/>
                        </a:rPr>
                        <a:t>Brooklyn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940" marR="15940" marT="15940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800" u="none" strike="noStrike">
                          <a:effectLst/>
                        </a:rPr>
                        <a:t>NY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940" marR="15940" marT="15940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800" u="none" strike="noStrike">
                          <a:effectLst/>
                        </a:rPr>
                        <a:t>11235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940" marR="15940" marT="15940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800" u="none" strike="noStrike">
                          <a:effectLst/>
                        </a:rPr>
                        <a:t>(718) 769-41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940" marR="15940" marT="15940" marB="0" anchor="b"/>
                </a:tc>
                <a:extLst>
                  <a:ext uri="{0D108BD9-81ED-4DB2-BD59-A6C34878D82A}">
                    <a16:rowId xmlns:a16="http://schemas.microsoft.com/office/drawing/2014/main" val="3345011396"/>
                  </a:ext>
                </a:extLst>
              </a:tr>
              <a:tr h="63825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800" u="none" strike="noStrike">
                          <a:effectLst/>
                        </a:rPr>
                        <a:t>Palm Gardens Dialysis Center LLC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940" marR="15940" marT="15940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800" u="none" strike="noStrike">
                          <a:effectLst/>
                        </a:rPr>
                        <a:t>615 Avenue C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940" marR="15940" marT="15940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800" u="none" strike="noStrike">
                          <a:effectLst/>
                        </a:rPr>
                        <a:t>Brooklyn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940" marR="15940" marT="15940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800" u="none" strike="noStrike">
                          <a:effectLst/>
                        </a:rPr>
                        <a:t>NY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940" marR="15940" marT="15940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800" u="none" strike="noStrike">
                          <a:effectLst/>
                        </a:rPr>
                        <a:t>11218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940" marR="15940" marT="15940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800" u="none" strike="noStrike">
                          <a:effectLst/>
                        </a:rPr>
                        <a:t>(718) 732-3288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940" marR="15940" marT="15940" marB="0" anchor="b"/>
                </a:tc>
                <a:extLst>
                  <a:ext uri="{0D108BD9-81ED-4DB2-BD59-A6C34878D82A}">
                    <a16:rowId xmlns:a16="http://schemas.microsoft.com/office/drawing/2014/main" val="3672441397"/>
                  </a:ext>
                </a:extLst>
              </a:tr>
              <a:tr h="91880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800" u="none" strike="noStrike">
                          <a:effectLst/>
                        </a:rPr>
                        <a:t>Park Slope Dialysis Mgmt, LLC dba Prospect Park Dialysis Center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940" marR="15940" marT="15940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800" u="none" strike="noStrike">
                          <a:effectLst/>
                        </a:rPr>
                        <a:t>672 Parkside Avenue, 3rd Floor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940" marR="15940" marT="15940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800" u="none" strike="noStrike">
                          <a:effectLst/>
                        </a:rPr>
                        <a:t>Brooklyn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940" marR="15940" marT="15940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800" u="none" strike="noStrike">
                          <a:effectLst/>
                        </a:rPr>
                        <a:t>NY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940" marR="15940" marT="15940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800" u="none" strike="noStrike">
                          <a:effectLst/>
                        </a:rPr>
                        <a:t>11226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940" marR="15940" marT="15940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800" u="none" strike="noStrike">
                          <a:effectLst/>
                        </a:rPr>
                        <a:t>(718) 408-619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940" marR="15940" marT="15940" marB="0" anchor="b"/>
                </a:tc>
                <a:extLst>
                  <a:ext uri="{0D108BD9-81ED-4DB2-BD59-A6C34878D82A}">
                    <a16:rowId xmlns:a16="http://schemas.microsoft.com/office/drawing/2014/main" val="1599397814"/>
                  </a:ext>
                </a:extLst>
              </a:tr>
              <a:tr h="63825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800" u="none" strike="noStrike">
                          <a:effectLst/>
                        </a:rPr>
                        <a:t>Sea Crest Acquisition II, LLC dba Sea Crest Dialysis Center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940" marR="15940" marT="15940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800" u="none" strike="noStrike">
                          <a:effectLst/>
                        </a:rPr>
                        <a:t>3035 W 24th St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940" marR="15940" marT="15940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800" u="none" strike="noStrike">
                          <a:effectLst/>
                        </a:rPr>
                        <a:t>Brooklyn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940" marR="15940" marT="15940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800" u="none" strike="noStrike">
                          <a:effectLst/>
                        </a:rPr>
                        <a:t>NY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940" marR="15940" marT="15940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800" u="none" strike="noStrike">
                          <a:effectLst/>
                        </a:rPr>
                        <a:t>11224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940" marR="15940" marT="15940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800" u="none" strike="noStrike">
                          <a:effectLst/>
                        </a:rPr>
                        <a:t>(718) 372-45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940" marR="15940" marT="15940" marB="0" anchor="b"/>
                </a:tc>
                <a:extLst>
                  <a:ext uri="{0D108BD9-81ED-4DB2-BD59-A6C34878D82A}">
                    <a16:rowId xmlns:a16="http://schemas.microsoft.com/office/drawing/2014/main" val="10746233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753316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D1851D62-CB14-F54B-CDB3-77F5825622C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118282"/>
            <a:ext cx="11338560" cy="492125"/>
          </a:xfrm>
        </p:spPr>
        <p:txBody>
          <a:bodyPr anchor="ctr">
            <a:normAutofit/>
          </a:bodyPr>
          <a:lstStyle/>
          <a:p>
            <a:pPr marL="457200" lvl="1" indent="0">
              <a:buNone/>
            </a:pPr>
            <a:endParaRPr lang="en-US" sz="1800"/>
          </a:p>
          <a:p>
            <a:pPr lvl="1"/>
            <a:endParaRPr lang="en-US" sz="180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BA83C0F8-7B44-F6C2-173C-9CA9012CF2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0"/>
            <a:ext cx="11338560" cy="1074058"/>
          </a:xfrm>
        </p:spPr>
        <p:txBody>
          <a:bodyPr anchor="b">
            <a:normAutofit/>
          </a:bodyPr>
          <a:lstStyle/>
          <a:p>
            <a:r>
              <a:rPr lang="en-US" dirty="0"/>
              <a:t>List of Participating Dialysis Cen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03917E1-3455-9078-53B7-8B631C00D69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9067800" y="6284325"/>
            <a:ext cx="2743200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901F1369-4AEB-4520-96C0-9F78886180C1}" type="slidenum">
              <a:rPr lang="en-US" smtClean="0"/>
              <a:pPr>
                <a:spcAft>
                  <a:spcPts val="600"/>
                </a:spcAft>
              </a:pPr>
              <a:t>5</a:t>
            </a:fld>
            <a:endParaRPr lang="en-US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7DEE8732-D0A1-E6EE-A7D0-5725A0A605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3912166"/>
              </p:ext>
            </p:extLst>
          </p:nvPr>
        </p:nvGraphicFramePr>
        <p:xfrm>
          <a:off x="457200" y="1805399"/>
          <a:ext cx="11338562" cy="40346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66853">
                  <a:extLst>
                    <a:ext uri="{9D8B030D-6E8A-4147-A177-3AD203B41FA5}">
                      <a16:colId xmlns:a16="http://schemas.microsoft.com/office/drawing/2014/main" val="52725442"/>
                    </a:ext>
                  </a:extLst>
                </a:gridCol>
                <a:gridCol w="2057464">
                  <a:extLst>
                    <a:ext uri="{9D8B030D-6E8A-4147-A177-3AD203B41FA5}">
                      <a16:colId xmlns:a16="http://schemas.microsoft.com/office/drawing/2014/main" val="305640680"/>
                    </a:ext>
                  </a:extLst>
                </a:gridCol>
                <a:gridCol w="1270835">
                  <a:extLst>
                    <a:ext uri="{9D8B030D-6E8A-4147-A177-3AD203B41FA5}">
                      <a16:colId xmlns:a16="http://schemas.microsoft.com/office/drawing/2014/main" val="1266497246"/>
                    </a:ext>
                  </a:extLst>
                </a:gridCol>
                <a:gridCol w="948401">
                  <a:extLst>
                    <a:ext uri="{9D8B030D-6E8A-4147-A177-3AD203B41FA5}">
                      <a16:colId xmlns:a16="http://schemas.microsoft.com/office/drawing/2014/main" val="370538946"/>
                    </a:ext>
                  </a:extLst>
                </a:gridCol>
                <a:gridCol w="1515440">
                  <a:extLst>
                    <a:ext uri="{9D8B030D-6E8A-4147-A177-3AD203B41FA5}">
                      <a16:colId xmlns:a16="http://schemas.microsoft.com/office/drawing/2014/main" val="724469056"/>
                    </a:ext>
                  </a:extLst>
                </a:gridCol>
                <a:gridCol w="1879569">
                  <a:extLst>
                    <a:ext uri="{9D8B030D-6E8A-4147-A177-3AD203B41FA5}">
                      <a16:colId xmlns:a16="http://schemas.microsoft.com/office/drawing/2014/main" val="2749667288"/>
                    </a:ext>
                  </a:extLst>
                </a:gridCol>
              </a:tblGrid>
              <a:tr h="454299">
                <a:tc gridSpan="6"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2500" u="none" strike="noStrike">
                          <a:effectLst/>
                        </a:rPr>
                        <a:t>Manhattan</a:t>
                      </a:r>
                      <a:endParaRPr lang="en-US" sz="2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678" marR="16678" marT="16678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72764442"/>
                  </a:ext>
                </a:extLst>
              </a:tr>
              <a:tr h="454299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2500" u="none" strike="noStrike">
                          <a:effectLst/>
                        </a:rPr>
                        <a:t>Facility Name</a:t>
                      </a:r>
                      <a:endParaRPr lang="en-US" sz="2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678" marR="16678" marT="16678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2500" u="none" strike="noStrike">
                          <a:effectLst/>
                        </a:rPr>
                        <a:t>Address</a:t>
                      </a:r>
                      <a:endParaRPr lang="en-US" sz="2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678" marR="16678" marT="16678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2500" u="none" strike="noStrike">
                          <a:effectLst/>
                        </a:rPr>
                        <a:t>City</a:t>
                      </a:r>
                      <a:endParaRPr lang="en-US" sz="2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678" marR="16678" marT="16678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2500" u="none" strike="noStrike">
                          <a:effectLst/>
                        </a:rPr>
                        <a:t>State</a:t>
                      </a:r>
                      <a:endParaRPr lang="en-US" sz="2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678" marR="16678" marT="16678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2500" u="none" strike="noStrike">
                          <a:effectLst/>
                        </a:rPr>
                        <a:t>Zip Code</a:t>
                      </a:r>
                      <a:endParaRPr lang="en-US" sz="2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678" marR="16678" marT="16678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2500" u="none" strike="noStrike">
                          <a:effectLst/>
                        </a:rPr>
                        <a:t>Phone</a:t>
                      </a:r>
                      <a:endParaRPr lang="en-US" sz="2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678" marR="16678" marT="16678" marB="0" anchor="b"/>
                </a:tc>
                <a:extLst>
                  <a:ext uri="{0D108BD9-81ED-4DB2-BD59-A6C34878D82A}">
                    <a16:rowId xmlns:a16="http://schemas.microsoft.com/office/drawing/2014/main" val="3541399945"/>
                  </a:ext>
                </a:extLst>
              </a:tr>
              <a:tr h="374246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900" u="none" strike="noStrike">
                          <a:effectLst/>
                        </a:rPr>
                        <a:t>Chinatown Dialysis Center, LLC</a:t>
                      </a:r>
                      <a:endParaRPr lang="en-US" sz="1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678" marR="16678" marT="16678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900" u="none" strike="noStrike">
                          <a:effectLst/>
                        </a:rPr>
                        <a:t>213 Hester Street</a:t>
                      </a:r>
                      <a:endParaRPr lang="en-US" sz="1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678" marR="16678" marT="16678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900" u="none" strike="noStrike">
                          <a:effectLst/>
                        </a:rPr>
                        <a:t>New York</a:t>
                      </a:r>
                      <a:endParaRPr lang="en-US" sz="1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678" marR="16678" marT="16678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900" u="none" strike="noStrike">
                          <a:effectLst/>
                        </a:rPr>
                        <a:t>NY</a:t>
                      </a:r>
                      <a:endParaRPr lang="en-US" sz="1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678" marR="16678" marT="16678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900" u="none" strike="noStrike">
                          <a:effectLst/>
                        </a:rPr>
                        <a:t>10013</a:t>
                      </a:r>
                      <a:endParaRPr lang="en-US" sz="1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678" marR="16678" marT="16678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900" u="none" strike="noStrike">
                          <a:effectLst/>
                        </a:rPr>
                        <a:t>(212) 925-0404</a:t>
                      </a:r>
                      <a:endParaRPr lang="en-US" sz="1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678" marR="16678" marT="16678" marB="0" anchor="b"/>
                </a:tc>
                <a:extLst>
                  <a:ext uri="{0D108BD9-81ED-4DB2-BD59-A6C34878D82A}">
                    <a16:rowId xmlns:a16="http://schemas.microsoft.com/office/drawing/2014/main" val="1649376914"/>
                  </a:ext>
                </a:extLst>
              </a:tr>
              <a:tr h="961299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900" u="none" strike="noStrike">
                          <a:effectLst/>
                        </a:rPr>
                        <a:t>Empire State DC, Inc. dba Haven Dialysis (FKA Columbia University)</a:t>
                      </a:r>
                      <a:endParaRPr lang="en-US" sz="1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678" marR="16678" marT="16678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900" u="none" strike="noStrike">
                          <a:effectLst/>
                        </a:rPr>
                        <a:t>60 Haven Ave, B3,</a:t>
                      </a:r>
                      <a:endParaRPr lang="en-US" sz="1900" b="0" i="0" u="none" strike="noStrike">
                        <a:solidFill>
                          <a:srgbClr val="42424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678" marR="16678" marT="16678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900" u="none" strike="noStrike">
                          <a:effectLst/>
                        </a:rPr>
                        <a:t>New York</a:t>
                      </a:r>
                      <a:endParaRPr lang="en-US" sz="1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678" marR="16678" marT="16678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900" u="none" strike="noStrike">
                          <a:effectLst/>
                        </a:rPr>
                        <a:t>NY</a:t>
                      </a:r>
                      <a:endParaRPr lang="en-US" sz="1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678" marR="16678" marT="16678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900" u="none" strike="noStrike">
                          <a:effectLst/>
                        </a:rPr>
                        <a:t>10032-2604</a:t>
                      </a:r>
                      <a:endParaRPr lang="en-US" sz="1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678" marR="16678" marT="16678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900" u="none" strike="noStrike">
                          <a:effectLst/>
                        </a:rPr>
                        <a:t>(212)928-9071</a:t>
                      </a:r>
                      <a:endParaRPr lang="en-US" sz="1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678" marR="16678" marT="16678" marB="0" anchor="b"/>
                </a:tc>
                <a:extLst>
                  <a:ext uri="{0D108BD9-81ED-4DB2-BD59-A6C34878D82A}">
                    <a16:rowId xmlns:a16="http://schemas.microsoft.com/office/drawing/2014/main" val="94101071"/>
                  </a:ext>
                </a:extLst>
              </a:tr>
              <a:tr h="667772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sv-SE" sz="1900" u="none" strike="noStrike">
                          <a:effectLst/>
                        </a:rPr>
                        <a:t>Lower Manhattan Dialysis Center, Inc.</a:t>
                      </a:r>
                      <a:endParaRPr lang="sv-SE" sz="1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678" marR="16678" marT="16678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900" u="none" strike="noStrike">
                          <a:effectLst/>
                        </a:rPr>
                        <a:t>323 East 34th Street</a:t>
                      </a:r>
                      <a:endParaRPr lang="en-US" sz="1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678" marR="16678" marT="16678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900" u="none" strike="noStrike">
                          <a:effectLst/>
                        </a:rPr>
                        <a:t>New York</a:t>
                      </a:r>
                      <a:endParaRPr lang="en-US" sz="1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678" marR="16678" marT="16678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900" u="none" strike="noStrike">
                          <a:effectLst/>
                        </a:rPr>
                        <a:t>NY</a:t>
                      </a:r>
                      <a:endParaRPr lang="en-US" sz="1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678" marR="16678" marT="16678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900" u="none" strike="noStrike">
                          <a:effectLst/>
                        </a:rPr>
                        <a:t>10016</a:t>
                      </a:r>
                      <a:endParaRPr lang="en-US" sz="1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678" marR="16678" marT="16678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900" u="none" strike="noStrike">
                          <a:effectLst/>
                        </a:rPr>
                        <a:t>(212) 889-1082</a:t>
                      </a:r>
                      <a:endParaRPr lang="en-US" sz="1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678" marR="16678" marT="16678" marB="0" anchor="b"/>
                </a:tc>
                <a:extLst>
                  <a:ext uri="{0D108BD9-81ED-4DB2-BD59-A6C34878D82A}">
                    <a16:rowId xmlns:a16="http://schemas.microsoft.com/office/drawing/2014/main" val="577883375"/>
                  </a:ext>
                </a:extLst>
              </a:tr>
              <a:tr h="374246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900" u="none" strike="noStrike">
                          <a:effectLst/>
                        </a:rPr>
                        <a:t>Park Avenue Dialysis Center LLC</a:t>
                      </a:r>
                      <a:endParaRPr lang="fr-FR" sz="1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678" marR="16678" marT="16678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900" u="none" strike="noStrike">
                          <a:effectLst/>
                        </a:rPr>
                        <a:t>116 E 124th St</a:t>
                      </a:r>
                      <a:endParaRPr lang="en-US" sz="1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678" marR="16678" marT="16678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900" u="none" strike="noStrike">
                          <a:effectLst/>
                        </a:rPr>
                        <a:t>New York</a:t>
                      </a:r>
                      <a:endParaRPr lang="en-US" sz="1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678" marR="16678" marT="16678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900" u="none" strike="noStrike">
                          <a:effectLst/>
                        </a:rPr>
                        <a:t>NY</a:t>
                      </a:r>
                      <a:endParaRPr lang="en-US" sz="1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678" marR="16678" marT="16678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900" u="none" strike="noStrike">
                          <a:effectLst/>
                        </a:rPr>
                        <a:t>10035</a:t>
                      </a:r>
                      <a:endParaRPr lang="en-US" sz="1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678" marR="16678" marT="16678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900" u="none" strike="noStrike">
                          <a:effectLst/>
                        </a:rPr>
                        <a:t>(646) 979-3316</a:t>
                      </a:r>
                      <a:endParaRPr lang="en-US" sz="1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678" marR="16678" marT="16678" marB="0" anchor="b"/>
                </a:tc>
                <a:extLst>
                  <a:ext uri="{0D108BD9-81ED-4DB2-BD59-A6C34878D82A}">
                    <a16:rowId xmlns:a16="http://schemas.microsoft.com/office/drawing/2014/main" val="3180810242"/>
                  </a:ext>
                </a:extLst>
              </a:tr>
              <a:tr h="374246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900" u="none" strike="noStrike">
                          <a:effectLst/>
                        </a:rPr>
                        <a:t>Ridgewood Dialysis Center</a:t>
                      </a:r>
                      <a:endParaRPr lang="en-US" sz="1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678" marR="16678" marT="16678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900" u="none" strike="noStrike">
                          <a:effectLst/>
                        </a:rPr>
                        <a:t>1249 Fifth Avenue</a:t>
                      </a:r>
                      <a:endParaRPr lang="en-US" sz="1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678" marR="16678" marT="16678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900" u="none" strike="noStrike">
                          <a:effectLst/>
                        </a:rPr>
                        <a:t>New York</a:t>
                      </a:r>
                      <a:endParaRPr lang="en-US" sz="1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678" marR="16678" marT="16678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900" u="none" strike="noStrike">
                          <a:effectLst/>
                        </a:rPr>
                        <a:t>NY</a:t>
                      </a:r>
                      <a:endParaRPr lang="en-US" sz="1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678" marR="16678" marT="16678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900" u="none" strike="noStrike">
                          <a:effectLst/>
                        </a:rPr>
                        <a:t>10029</a:t>
                      </a:r>
                      <a:endParaRPr lang="en-US" sz="1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678" marR="16678" marT="16678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900" u="none" strike="noStrike">
                          <a:effectLst/>
                        </a:rPr>
                        <a:t>(347) 312-3032</a:t>
                      </a:r>
                      <a:endParaRPr lang="en-US" sz="1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678" marR="16678" marT="16678" marB="0" anchor="b"/>
                </a:tc>
                <a:extLst>
                  <a:ext uri="{0D108BD9-81ED-4DB2-BD59-A6C34878D82A}">
                    <a16:rowId xmlns:a16="http://schemas.microsoft.com/office/drawing/2014/main" val="93752501"/>
                  </a:ext>
                </a:extLst>
              </a:tr>
              <a:tr h="374246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900" u="none" strike="noStrike">
                          <a:effectLst/>
                        </a:rPr>
                        <a:t>River Renal Services, Inc.</a:t>
                      </a:r>
                      <a:endParaRPr lang="en-US" sz="1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678" marR="16678" marT="16678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900" u="none" strike="noStrike">
                          <a:effectLst/>
                        </a:rPr>
                        <a:t>462 First Avenue</a:t>
                      </a:r>
                      <a:endParaRPr lang="en-US" sz="1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678" marR="16678" marT="16678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900" u="none" strike="noStrike">
                          <a:effectLst/>
                        </a:rPr>
                        <a:t>New York</a:t>
                      </a:r>
                      <a:endParaRPr lang="en-US" sz="1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678" marR="16678" marT="16678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900" u="none" strike="noStrike">
                          <a:effectLst/>
                        </a:rPr>
                        <a:t>NY</a:t>
                      </a:r>
                      <a:endParaRPr lang="en-US" sz="1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678" marR="16678" marT="16678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900" u="none" strike="noStrike">
                          <a:effectLst/>
                        </a:rPr>
                        <a:t>10016</a:t>
                      </a:r>
                      <a:endParaRPr lang="en-US" sz="1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678" marR="16678" marT="16678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900" u="none" strike="noStrike">
                          <a:effectLst/>
                        </a:rPr>
                        <a:t>(212) 839-0700</a:t>
                      </a:r>
                      <a:endParaRPr lang="en-US" sz="1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678" marR="16678" marT="16678" marB="0" anchor="b"/>
                </a:tc>
                <a:extLst>
                  <a:ext uri="{0D108BD9-81ED-4DB2-BD59-A6C34878D82A}">
                    <a16:rowId xmlns:a16="http://schemas.microsoft.com/office/drawing/2014/main" val="28592568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125663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3C04DB-39C1-69DF-A3F2-3F5059FC8F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537785E9-E667-B173-CA3C-128407E8962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118282"/>
            <a:ext cx="11338560" cy="492125"/>
          </a:xfrm>
        </p:spPr>
        <p:txBody>
          <a:bodyPr anchor="ctr">
            <a:normAutofit/>
          </a:bodyPr>
          <a:lstStyle/>
          <a:p>
            <a:pPr marL="457200" lvl="1" indent="0">
              <a:buNone/>
            </a:pPr>
            <a:endParaRPr lang="en-US" sz="1800"/>
          </a:p>
          <a:p>
            <a:pPr lvl="1"/>
            <a:endParaRPr lang="en-US" sz="180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A5D6EA52-84FA-9D2C-7082-9EE2D889B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0"/>
            <a:ext cx="11338560" cy="1074058"/>
          </a:xfrm>
        </p:spPr>
        <p:txBody>
          <a:bodyPr anchor="b">
            <a:normAutofit/>
          </a:bodyPr>
          <a:lstStyle/>
          <a:p>
            <a:r>
              <a:rPr lang="en-US" dirty="0"/>
              <a:t>List of Participating Dialysis Cen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4DDA9C0-92DB-3DA5-4BDB-FA738F0A2CA6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9067800" y="6284325"/>
            <a:ext cx="2743200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901F1369-4AEB-4520-96C0-9F78886180C1}" type="slidenum">
              <a:rPr lang="en-US" smtClean="0"/>
              <a:pPr>
                <a:spcAft>
                  <a:spcPts val="600"/>
                </a:spcAft>
              </a:pPr>
              <a:t>6</a:t>
            </a:fld>
            <a:endParaRPr lang="en-US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1EAA5E98-6D9D-DD23-98CE-A526EF6334F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6792110"/>
              </p:ext>
            </p:extLst>
          </p:nvPr>
        </p:nvGraphicFramePr>
        <p:xfrm>
          <a:off x="1212169" y="1652610"/>
          <a:ext cx="9828624" cy="43402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7348">
                  <a:extLst>
                    <a:ext uri="{9D8B030D-6E8A-4147-A177-3AD203B41FA5}">
                      <a16:colId xmlns:a16="http://schemas.microsoft.com/office/drawing/2014/main" val="2810135053"/>
                    </a:ext>
                  </a:extLst>
                </a:gridCol>
                <a:gridCol w="1672061">
                  <a:extLst>
                    <a:ext uri="{9D8B030D-6E8A-4147-A177-3AD203B41FA5}">
                      <a16:colId xmlns:a16="http://schemas.microsoft.com/office/drawing/2014/main" val="330000650"/>
                    </a:ext>
                  </a:extLst>
                </a:gridCol>
                <a:gridCol w="1121291">
                  <a:extLst>
                    <a:ext uri="{9D8B030D-6E8A-4147-A177-3AD203B41FA5}">
                      <a16:colId xmlns:a16="http://schemas.microsoft.com/office/drawing/2014/main" val="961519538"/>
                    </a:ext>
                  </a:extLst>
                </a:gridCol>
                <a:gridCol w="893471">
                  <a:extLst>
                    <a:ext uri="{9D8B030D-6E8A-4147-A177-3AD203B41FA5}">
                      <a16:colId xmlns:a16="http://schemas.microsoft.com/office/drawing/2014/main" val="3338924852"/>
                    </a:ext>
                  </a:extLst>
                </a:gridCol>
                <a:gridCol w="1427667">
                  <a:extLst>
                    <a:ext uri="{9D8B030D-6E8A-4147-A177-3AD203B41FA5}">
                      <a16:colId xmlns:a16="http://schemas.microsoft.com/office/drawing/2014/main" val="259531932"/>
                    </a:ext>
                  </a:extLst>
                </a:gridCol>
                <a:gridCol w="1736786">
                  <a:extLst>
                    <a:ext uri="{9D8B030D-6E8A-4147-A177-3AD203B41FA5}">
                      <a16:colId xmlns:a16="http://schemas.microsoft.com/office/drawing/2014/main" val="203170974"/>
                    </a:ext>
                  </a:extLst>
                </a:gridCol>
              </a:tblGrid>
              <a:tr h="264516">
                <a:tc gridSpan="6"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Queens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8882418"/>
                  </a:ext>
                </a:extLst>
              </a:tr>
              <a:tr h="264516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Facility Name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Address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City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State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Zip Code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Phone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extLst>
                  <a:ext uri="{0D108BD9-81ED-4DB2-BD59-A6C34878D82A}">
                    <a16:rowId xmlns:a16="http://schemas.microsoft.com/office/drawing/2014/main" val="809351576"/>
                  </a:ext>
                </a:extLst>
              </a:tr>
              <a:tr h="21790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Newtown Dialysis Center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29-20 Newtown Ave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Astoria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NY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1110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(718) 728-222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extLst>
                  <a:ext uri="{0D108BD9-81ED-4DB2-BD59-A6C34878D82A}">
                    <a16:rowId xmlns:a16="http://schemas.microsoft.com/office/drawing/2014/main" val="103929927"/>
                  </a:ext>
                </a:extLst>
              </a:tr>
              <a:tr h="21790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Newtown Dialysis Center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34-01 35th Ave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Astoria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NY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1110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(718) 707-998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extLst>
                  <a:ext uri="{0D108BD9-81ED-4DB2-BD59-A6C34878D82A}">
                    <a16:rowId xmlns:a16="http://schemas.microsoft.com/office/drawing/2014/main" val="4098144796"/>
                  </a:ext>
                </a:extLst>
              </a:tr>
              <a:tr h="388811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Knickerbocker Dialysis, Inc. dba Clearview Dialysis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4560 Francis Lewis Blvd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Bayside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NY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11361-3047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(718) 224-239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extLst>
                  <a:ext uri="{0D108BD9-81ED-4DB2-BD59-A6C34878D82A}">
                    <a16:rowId xmlns:a16="http://schemas.microsoft.com/office/drawing/2014/main" val="403306286"/>
                  </a:ext>
                </a:extLst>
              </a:tr>
              <a:tr h="21790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Newtown Dialysis Center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7901 Broadway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Elmhurst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NY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1137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(718) 205-777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extLst>
                  <a:ext uri="{0D108BD9-81ED-4DB2-BD59-A6C34878D82A}">
                    <a16:rowId xmlns:a16="http://schemas.microsoft.com/office/drawing/2014/main" val="4206190284"/>
                  </a:ext>
                </a:extLst>
              </a:tr>
              <a:tr h="21790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CRD Associates, LLC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119-19 Graham Court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Flushing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NY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1135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(718) 886-070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extLst>
                  <a:ext uri="{0D108BD9-81ED-4DB2-BD59-A6C34878D82A}">
                    <a16:rowId xmlns:a16="http://schemas.microsoft.com/office/drawing/2014/main" val="3233667689"/>
                  </a:ext>
                </a:extLst>
              </a:tr>
              <a:tr h="21790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Queens Dialysis at the Pavilion LLC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36-17 Parsons Blvd.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Flushing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NY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11354-593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(718) 888-522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extLst>
                  <a:ext uri="{0D108BD9-81ED-4DB2-BD59-A6C34878D82A}">
                    <a16:rowId xmlns:a16="http://schemas.microsoft.com/office/drawing/2014/main" val="3189155013"/>
                  </a:ext>
                </a:extLst>
              </a:tr>
              <a:tr h="388811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USRC South Flushing, LLC dba U.S. Renal Care South Flushing Dialysis </a:t>
                      </a:r>
                      <a:endParaRPr lang="en-US" sz="1100" b="0" i="0" u="none" strike="noStrike">
                        <a:solidFill>
                          <a:srgbClr val="42424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71-12 Park Avenue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Flushing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NY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1136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(718) 591-401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extLst>
                  <a:ext uri="{0D108BD9-81ED-4DB2-BD59-A6C34878D82A}">
                    <a16:rowId xmlns:a16="http://schemas.microsoft.com/office/drawing/2014/main" val="4280859667"/>
                  </a:ext>
                </a:extLst>
              </a:tr>
              <a:tr h="388811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Genesis Services LLC dba Genesis Renal Care </a:t>
                      </a:r>
                      <a:endParaRPr lang="en-US" sz="1100" b="0" i="0" u="none" strike="noStrike">
                        <a:solidFill>
                          <a:srgbClr val="42424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74-07 88th Street</a:t>
                      </a:r>
                      <a:endParaRPr lang="en-US" sz="1100" b="0" i="0" u="none" strike="noStrike">
                        <a:solidFill>
                          <a:srgbClr val="42424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Glendale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NY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1138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(646) 931-100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extLst>
                  <a:ext uri="{0D108BD9-81ED-4DB2-BD59-A6C34878D82A}">
                    <a16:rowId xmlns:a16="http://schemas.microsoft.com/office/drawing/2014/main" val="1418276631"/>
                  </a:ext>
                </a:extLst>
              </a:tr>
              <a:tr h="388811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Knickerbocker Dialysis DBA Atlas Park Dialysis </a:t>
                      </a:r>
                      <a:endParaRPr lang="en-US" sz="1100" b="0" i="0" u="none" strike="noStrike">
                        <a:solidFill>
                          <a:srgbClr val="42424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80-00 Copper Ave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Glendale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NY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1138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(718) 326-278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extLst>
                  <a:ext uri="{0D108BD9-81ED-4DB2-BD59-A6C34878D82A}">
                    <a16:rowId xmlns:a16="http://schemas.microsoft.com/office/drawing/2014/main" val="1744008396"/>
                  </a:ext>
                </a:extLst>
              </a:tr>
              <a:tr h="388811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Knickerbocker Dialysis, Inc. dba Jamaica Hillside Dialysis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171-19 Hillside Avenue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Jamaica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NY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1143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(718) 526-205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extLst>
                  <a:ext uri="{0D108BD9-81ED-4DB2-BD59-A6C34878D82A}">
                    <a16:rowId xmlns:a16="http://schemas.microsoft.com/office/drawing/2014/main" val="37623849"/>
                  </a:ext>
                </a:extLst>
              </a:tr>
              <a:tr h="388811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Knickerbocker Dialysis, Inc. dba Queens Dialysis Center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118-01 Guy R Brewer Blvd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Jamaica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NY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1143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(718) 341-671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extLst>
                  <a:ext uri="{0D108BD9-81ED-4DB2-BD59-A6C34878D82A}">
                    <a16:rowId xmlns:a16="http://schemas.microsoft.com/office/drawing/2014/main" val="2087116043"/>
                  </a:ext>
                </a:extLst>
              </a:tr>
              <a:tr h="388811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Knickerbocker Dialysis, Inc. dba Van Wyck </a:t>
                      </a:r>
                      <a:endParaRPr lang="en-US" sz="1100" b="0" i="0" u="none" strike="noStrike">
                        <a:solidFill>
                          <a:srgbClr val="42424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9130 Van Wyck Expressway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Jamaica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NY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1141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(718) 558-438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711" marR="9711" marT="9711" marB="0" anchor="b"/>
                </a:tc>
                <a:extLst>
                  <a:ext uri="{0D108BD9-81ED-4DB2-BD59-A6C34878D82A}">
                    <a16:rowId xmlns:a16="http://schemas.microsoft.com/office/drawing/2014/main" val="360200821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895017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3DCDE5-6A9F-1DED-C565-E8BC62C3D7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FE0A0BF1-E941-A8A3-937E-530BB6B31E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118282"/>
            <a:ext cx="11338560" cy="492125"/>
          </a:xfrm>
        </p:spPr>
        <p:txBody>
          <a:bodyPr anchor="ctr">
            <a:normAutofit/>
          </a:bodyPr>
          <a:lstStyle/>
          <a:p>
            <a:pPr marL="457200" lvl="1" indent="0">
              <a:buNone/>
            </a:pPr>
            <a:endParaRPr lang="en-US" sz="1800"/>
          </a:p>
          <a:p>
            <a:pPr lvl="1"/>
            <a:endParaRPr lang="en-US" sz="180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E191FE10-822C-2E8B-84F0-B86E553CA2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0"/>
            <a:ext cx="11338560" cy="1074058"/>
          </a:xfrm>
        </p:spPr>
        <p:txBody>
          <a:bodyPr anchor="b">
            <a:normAutofit/>
          </a:bodyPr>
          <a:lstStyle/>
          <a:p>
            <a:r>
              <a:rPr lang="en-US" dirty="0"/>
              <a:t>List of Participating Dialysis Cen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BD03A86-284D-4A2F-9BFB-A8314D60F189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9067800" y="6284325"/>
            <a:ext cx="2743200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901F1369-4AEB-4520-96C0-9F78886180C1}" type="slidenum">
              <a:rPr lang="en-US" smtClean="0"/>
              <a:pPr>
                <a:spcAft>
                  <a:spcPts val="600"/>
                </a:spcAft>
              </a:pPr>
              <a:t>7</a:t>
            </a:fld>
            <a:endParaRPr lang="en-US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19F0BC99-F669-5238-0C67-96293FF16E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6994471"/>
              </p:ext>
            </p:extLst>
          </p:nvPr>
        </p:nvGraphicFramePr>
        <p:xfrm>
          <a:off x="457200" y="1791756"/>
          <a:ext cx="11338562" cy="40619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31449">
                  <a:extLst>
                    <a:ext uri="{9D8B030D-6E8A-4147-A177-3AD203B41FA5}">
                      <a16:colId xmlns:a16="http://schemas.microsoft.com/office/drawing/2014/main" val="4089255223"/>
                    </a:ext>
                  </a:extLst>
                </a:gridCol>
                <a:gridCol w="1876326">
                  <a:extLst>
                    <a:ext uri="{9D8B030D-6E8A-4147-A177-3AD203B41FA5}">
                      <a16:colId xmlns:a16="http://schemas.microsoft.com/office/drawing/2014/main" val="1133890299"/>
                    </a:ext>
                  </a:extLst>
                </a:gridCol>
                <a:gridCol w="1674603">
                  <a:extLst>
                    <a:ext uri="{9D8B030D-6E8A-4147-A177-3AD203B41FA5}">
                      <a16:colId xmlns:a16="http://schemas.microsoft.com/office/drawing/2014/main" val="828778321"/>
                    </a:ext>
                  </a:extLst>
                </a:gridCol>
                <a:gridCol w="984459">
                  <a:extLst>
                    <a:ext uri="{9D8B030D-6E8A-4147-A177-3AD203B41FA5}">
                      <a16:colId xmlns:a16="http://schemas.microsoft.com/office/drawing/2014/main" val="3459085741"/>
                    </a:ext>
                  </a:extLst>
                </a:gridCol>
                <a:gridCol w="1573056">
                  <a:extLst>
                    <a:ext uri="{9D8B030D-6E8A-4147-A177-3AD203B41FA5}">
                      <a16:colId xmlns:a16="http://schemas.microsoft.com/office/drawing/2014/main" val="1886209813"/>
                    </a:ext>
                  </a:extLst>
                </a:gridCol>
                <a:gridCol w="1898669">
                  <a:extLst>
                    <a:ext uri="{9D8B030D-6E8A-4147-A177-3AD203B41FA5}">
                      <a16:colId xmlns:a16="http://schemas.microsoft.com/office/drawing/2014/main" val="1837195662"/>
                    </a:ext>
                  </a:extLst>
                </a:gridCol>
              </a:tblGrid>
              <a:tr h="291453">
                <a:tc gridSpan="6"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600" u="none" strike="noStrike">
                          <a:effectLst/>
                        </a:rPr>
                        <a:t>Queens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699" marR="10699" marT="10699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1708009"/>
                  </a:ext>
                </a:extLst>
              </a:tr>
              <a:tr h="29145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600" u="none" strike="noStrike">
                          <a:effectLst/>
                        </a:rPr>
                        <a:t>Facility Name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699" marR="10699" marT="10699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600" u="none" strike="noStrike">
                          <a:effectLst/>
                        </a:rPr>
                        <a:t>Address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699" marR="10699" marT="10699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600" u="none" strike="noStrike">
                          <a:effectLst/>
                        </a:rPr>
                        <a:t>City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699" marR="10699" marT="10699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600" u="none" strike="noStrike">
                          <a:effectLst/>
                        </a:rPr>
                        <a:t>State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699" marR="10699" marT="10699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600" u="none" strike="noStrike">
                          <a:effectLst/>
                        </a:rPr>
                        <a:t>Zip Code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699" marR="10699" marT="10699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600" u="none" strike="noStrike">
                          <a:effectLst/>
                        </a:rPr>
                        <a:t>Phone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699" marR="10699" marT="10699" marB="0" anchor="b"/>
                </a:tc>
                <a:extLst>
                  <a:ext uri="{0D108BD9-81ED-4DB2-BD59-A6C34878D82A}">
                    <a16:rowId xmlns:a16="http://schemas.microsoft.com/office/drawing/2014/main" val="3816092119"/>
                  </a:ext>
                </a:extLst>
              </a:tr>
              <a:tr h="428406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200" u="none" strike="noStrike">
                          <a:effectLst/>
                        </a:rPr>
                        <a:t>Queens Replacement, LLC dba Kew Gardens Dialysis Center</a:t>
                      </a:r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699" marR="10699" marT="10699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120-46 Queens Blvd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699" marR="10699" marT="10699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Kew Garden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699" marR="10699" marT="10699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NY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699" marR="10699" marT="10699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11415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699" marR="10699" marT="10699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(718) 793-334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699" marR="10699" marT="10699" marB="0" anchor="b"/>
                </a:tc>
                <a:extLst>
                  <a:ext uri="{0D108BD9-81ED-4DB2-BD59-A6C34878D82A}">
                    <a16:rowId xmlns:a16="http://schemas.microsoft.com/office/drawing/2014/main" val="2644583320"/>
                  </a:ext>
                </a:extLst>
              </a:tr>
              <a:tr h="428406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True North Dialysis Center, LLC dba Long Island City Dialysis </a:t>
                      </a:r>
                      <a:endParaRPr lang="en-US" sz="1200" b="0" i="0" u="none" strike="noStrike">
                        <a:solidFill>
                          <a:srgbClr val="42424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699" marR="10699" marT="10699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30-46 Northern Blvd, Floor 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699" marR="10699" marT="10699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Long Island City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699" marR="10699" marT="10699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NY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699" marR="10699" marT="10699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1110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699" marR="10699" marT="10699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(718) 752-160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699" marR="10699" marT="10699" marB="0" anchor="b"/>
                </a:tc>
                <a:extLst>
                  <a:ext uri="{0D108BD9-81ED-4DB2-BD59-A6C34878D82A}">
                    <a16:rowId xmlns:a16="http://schemas.microsoft.com/office/drawing/2014/main" val="3209073998"/>
                  </a:ext>
                </a:extLst>
              </a:tr>
              <a:tr h="428406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Knickerbocker Dialysis, Inc. dba Ozone Park Dialysi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699" marR="10699" marT="10699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100-02 Rockaway Blvd.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699" marR="10699" marT="10699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Ozone Park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699" marR="10699" marT="10699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NY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699" marR="10699" marT="10699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11417-2217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699" marR="10699" marT="10699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(718) 843-069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699" marR="10699" marT="10699" marB="0" anchor="b"/>
                </a:tc>
                <a:extLst>
                  <a:ext uri="{0D108BD9-81ED-4DB2-BD59-A6C34878D82A}">
                    <a16:rowId xmlns:a16="http://schemas.microsoft.com/office/drawing/2014/main" val="375270779"/>
                  </a:ext>
                </a:extLst>
              </a:tr>
              <a:tr h="428406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Knickerbocker Dialysis, Inc. dba Queens Village Dialysis Center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699" marR="10699" marT="10699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22202 Hempstead Ave, Ste 17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699" marR="10699" marT="10699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Queens Villag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699" marR="10699" marT="10699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NY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699" marR="10699" marT="10699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11429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699" marR="10699" marT="10699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(718) 217-620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699" marR="10699" marT="10699" marB="0" anchor="b"/>
                </a:tc>
                <a:extLst>
                  <a:ext uri="{0D108BD9-81ED-4DB2-BD59-A6C34878D82A}">
                    <a16:rowId xmlns:a16="http://schemas.microsoft.com/office/drawing/2014/main" val="2775188405"/>
                  </a:ext>
                </a:extLst>
              </a:tr>
              <a:tr h="428406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Novo Dialysis Jamaica, LLC </a:t>
                      </a:r>
                      <a:endParaRPr lang="en-US" sz="1200" b="0" i="0" u="none" strike="noStrike">
                        <a:solidFill>
                          <a:srgbClr val="42424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699" marR="10699" marT="10699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214-70 Jamaica Avenue, Mezzanine Lvl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699" marR="10699" marT="10699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Queens Villag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699" marR="10699" marT="10699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NY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699" marR="10699" marT="10699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11428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699" marR="10699" marT="10699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(929) 490-0588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699" marR="10699" marT="10699" marB="0" anchor="b"/>
                </a:tc>
                <a:extLst>
                  <a:ext uri="{0D108BD9-81ED-4DB2-BD59-A6C34878D82A}">
                    <a16:rowId xmlns:a16="http://schemas.microsoft.com/office/drawing/2014/main" val="988016546"/>
                  </a:ext>
                </a:extLst>
              </a:tr>
              <a:tr h="240096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Knickerbocker Dialysis, Inc. dba Ridge Care </a:t>
                      </a:r>
                      <a:endParaRPr lang="en-US" sz="1200" b="0" i="0" u="none" strike="noStrike">
                        <a:solidFill>
                          <a:srgbClr val="42424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699" marR="10699" marT="10699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1734 Hancock Street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699" marR="10699" marT="10699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Ridgewood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699" marR="10699" marT="10699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NY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699" marR="10699" marT="10699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11385-473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699" marR="10699" marT="10699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(929) 290-1267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699" marR="10699" marT="10699" marB="0" anchor="b"/>
                </a:tc>
                <a:extLst>
                  <a:ext uri="{0D108BD9-81ED-4DB2-BD59-A6C34878D82A}">
                    <a16:rowId xmlns:a16="http://schemas.microsoft.com/office/drawing/2014/main" val="753121823"/>
                  </a:ext>
                </a:extLst>
              </a:tr>
              <a:tr h="240096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Ridgewood Dialysis Center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699" marR="10699" marT="10699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385 Seneca Avenu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699" marR="10699" marT="10699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Ridgewood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699" marR="10699" marT="10699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NY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699" marR="10699" marT="10699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11385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699" marR="10699" marT="10699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(718) 366-111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699" marR="10699" marT="10699" marB="0" anchor="b"/>
                </a:tc>
                <a:extLst>
                  <a:ext uri="{0D108BD9-81ED-4DB2-BD59-A6C34878D82A}">
                    <a16:rowId xmlns:a16="http://schemas.microsoft.com/office/drawing/2014/main" val="1261809830"/>
                  </a:ext>
                </a:extLst>
              </a:tr>
              <a:tr h="428406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Ridgewood Dialysis Center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699" marR="10699" marT="10699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134-35 Springfield Boulevard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699" marR="10699" marT="10699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Springfield Garden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699" marR="10699" marT="10699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NY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699" marR="10699" marT="10699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11413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699" marR="10699" marT="10699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(718) 978-1233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699" marR="10699" marT="10699" marB="0" anchor="b"/>
                </a:tc>
                <a:extLst>
                  <a:ext uri="{0D108BD9-81ED-4DB2-BD59-A6C34878D82A}">
                    <a16:rowId xmlns:a16="http://schemas.microsoft.com/office/drawing/2014/main" val="1343750488"/>
                  </a:ext>
                </a:extLst>
              </a:tr>
              <a:tr h="428406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Queens Boulevard Extended Care Facility Dialysis Center LLC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699" marR="10699" marT="10699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6111 Queens Blvd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699" marR="10699" marT="10699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Woodsid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699" marR="10699" marT="10699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NY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699" marR="10699" marT="10699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11377-4965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699" marR="10699" marT="10699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(718) 205-882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699" marR="10699" marT="10699" marB="0" anchor="b"/>
                </a:tc>
                <a:extLst>
                  <a:ext uri="{0D108BD9-81ED-4DB2-BD59-A6C34878D82A}">
                    <a16:rowId xmlns:a16="http://schemas.microsoft.com/office/drawing/2014/main" val="19680429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277432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F3C1DF-BB0E-03F8-BDD1-C4A131D813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452F6BFE-AF7E-E467-F2A0-23C4398D5C7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118282"/>
            <a:ext cx="11338560" cy="492125"/>
          </a:xfrm>
        </p:spPr>
        <p:txBody>
          <a:bodyPr anchor="ctr">
            <a:normAutofit/>
          </a:bodyPr>
          <a:lstStyle/>
          <a:p>
            <a:pPr marL="457200" lvl="1" indent="0">
              <a:buNone/>
            </a:pPr>
            <a:endParaRPr lang="en-US" sz="1800"/>
          </a:p>
          <a:p>
            <a:pPr lvl="1"/>
            <a:endParaRPr lang="en-US" sz="180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5471F576-A137-AFA3-0466-8764DF388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0"/>
            <a:ext cx="11338560" cy="1074058"/>
          </a:xfrm>
        </p:spPr>
        <p:txBody>
          <a:bodyPr anchor="b">
            <a:normAutofit/>
          </a:bodyPr>
          <a:lstStyle/>
          <a:p>
            <a:r>
              <a:rPr lang="en-US" dirty="0"/>
              <a:t>List of Participating Dialysis Cen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6105B2A-E24E-69C1-4F21-3037E40FA9B5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9067800" y="6284325"/>
            <a:ext cx="2743200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901F1369-4AEB-4520-96C0-9F78886180C1}" type="slidenum">
              <a:rPr lang="en-US" smtClean="0"/>
              <a:pPr>
                <a:spcAft>
                  <a:spcPts val="600"/>
                </a:spcAft>
              </a:pPr>
              <a:t>8</a:t>
            </a:fld>
            <a:endParaRPr lang="en-US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10909EDF-986E-94B9-D1C4-5DD4D0E384B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1338057"/>
              </p:ext>
            </p:extLst>
          </p:nvPr>
        </p:nvGraphicFramePr>
        <p:xfrm>
          <a:off x="942002" y="1652610"/>
          <a:ext cx="10368957" cy="434022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69862">
                  <a:extLst>
                    <a:ext uri="{9D8B030D-6E8A-4147-A177-3AD203B41FA5}">
                      <a16:colId xmlns:a16="http://schemas.microsoft.com/office/drawing/2014/main" val="1627789185"/>
                    </a:ext>
                  </a:extLst>
                </a:gridCol>
                <a:gridCol w="1931952">
                  <a:extLst>
                    <a:ext uri="{9D8B030D-6E8A-4147-A177-3AD203B41FA5}">
                      <a16:colId xmlns:a16="http://schemas.microsoft.com/office/drawing/2014/main" val="2607887929"/>
                    </a:ext>
                  </a:extLst>
                </a:gridCol>
                <a:gridCol w="1467805">
                  <a:extLst>
                    <a:ext uri="{9D8B030D-6E8A-4147-A177-3AD203B41FA5}">
                      <a16:colId xmlns:a16="http://schemas.microsoft.com/office/drawing/2014/main" val="1367247150"/>
                    </a:ext>
                  </a:extLst>
                </a:gridCol>
                <a:gridCol w="851436">
                  <a:extLst>
                    <a:ext uri="{9D8B030D-6E8A-4147-A177-3AD203B41FA5}">
                      <a16:colId xmlns:a16="http://schemas.microsoft.com/office/drawing/2014/main" val="2729783856"/>
                    </a:ext>
                  </a:extLst>
                </a:gridCol>
                <a:gridCol w="1360501">
                  <a:extLst>
                    <a:ext uri="{9D8B030D-6E8A-4147-A177-3AD203B41FA5}">
                      <a16:colId xmlns:a16="http://schemas.microsoft.com/office/drawing/2014/main" val="469797664"/>
                    </a:ext>
                  </a:extLst>
                </a:gridCol>
                <a:gridCol w="1687401">
                  <a:extLst>
                    <a:ext uri="{9D8B030D-6E8A-4147-A177-3AD203B41FA5}">
                      <a16:colId xmlns:a16="http://schemas.microsoft.com/office/drawing/2014/main" val="210505037"/>
                    </a:ext>
                  </a:extLst>
                </a:gridCol>
              </a:tblGrid>
              <a:tr h="407851">
                <a:tc gridSpan="6"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2200" u="none" strike="noStrike">
                          <a:effectLst/>
                        </a:rPr>
                        <a:t>Staten Island</a:t>
                      </a:r>
                      <a:endParaRPr lang="en-US" sz="2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972" marR="14972" marT="14972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41278543"/>
                  </a:ext>
                </a:extLst>
              </a:tr>
              <a:tr h="407851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2200" u="none" strike="noStrike">
                          <a:effectLst/>
                        </a:rPr>
                        <a:t>Facility Name</a:t>
                      </a:r>
                      <a:endParaRPr lang="en-US" sz="2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972" marR="14972" marT="1497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2200" u="none" strike="noStrike">
                          <a:effectLst/>
                        </a:rPr>
                        <a:t>Address</a:t>
                      </a:r>
                      <a:endParaRPr lang="en-US" sz="2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972" marR="14972" marT="1497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2200" u="none" strike="noStrike">
                          <a:effectLst/>
                        </a:rPr>
                        <a:t>City</a:t>
                      </a:r>
                      <a:endParaRPr lang="en-US" sz="2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972" marR="14972" marT="1497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2200" u="none" strike="noStrike">
                          <a:effectLst/>
                        </a:rPr>
                        <a:t>State</a:t>
                      </a:r>
                      <a:endParaRPr lang="en-US" sz="2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972" marR="14972" marT="1497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2200" u="none" strike="noStrike">
                          <a:effectLst/>
                        </a:rPr>
                        <a:t>Zip Code</a:t>
                      </a:r>
                      <a:endParaRPr lang="en-US" sz="2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972" marR="14972" marT="1497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2200" u="none" strike="noStrike">
                          <a:effectLst/>
                        </a:rPr>
                        <a:t>Phone</a:t>
                      </a:r>
                      <a:endParaRPr lang="en-US" sz="2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972" marR="14972" marT="14972" marB="0" anchor="b"/>
                </a:tc>
                <a:extLst>
                  <a:ext uri="{0D108BD9-81ED-4DB2-BD59-A6C34878D82A}">
                    <a16:rowId xmlns:a16="http://schemas.microsoft.com/office/drawing/2014/main" val="2233876322"/>
                  </a:ext>
                </a:extLst>
              </a:tr>
              <a:tr h="599499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700" u="none" strike="noStrike">
                          <a:effectLst/>
                        </a:rPr>
                        <a:t>Island Rehabilitative Services Corp.</a:t>
                      </a:r>
                      <a:endParaRPr lang="en-US" sz="1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972" marR="14972" marT="1497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700" u="none" strike="noStrike">
                          <a:effectLst/>
                        </a:rPr>
                        <a:t>470 Seaview Avenue</a:t>
                      </a:r>
                      <a:endParaRPr lang="en-US" sz="1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972" marR="14972" marT="1497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700" u="none" strike="noStrike">
                          <a:effectLst/>
                        </a:rPr>
                        <a:t>Staten Island</a:t>
                      </a:r>
                      <a:endParaRPr lang="en-US" sz="1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972" marR="14972" marT="1497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700" u="none" strike="noStrike">
                          <a:effectLst/>
                        </a:rPr>
                        <a:t>NY</a:t>
                      </a:r>
                      <a:endParaRPr lang="en-US" sz="1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972" marR="14972" marT="1497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700" u="none" strike="noStrike">
                          <a:effectLst/>
                        </a:rPr>
                        <a:t>10305</a:t>
                      </a:r>
                      <a:endParaRPr lang="en-US" sz="1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972" marR="14972" marT="1497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700" u="none" strike="noStrike">
                          <a:effectLst/>
                        </a:rPr>
                        <a:t>(718) 987-5942</a:t>
                      </a:r>
                      <a:endParaRPr lang="en-US" sz="1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972" marR="14972" marT="14972" marB="0" anchor="b"/>
                </a:tc>
                <a:extLst>
                  <a:ext uri="{0D108BD9-81ED-4DB2-BD59-A6C34878D82A}">
                    <a16:rowId xmlns:a16="http://schemas.microsoft.com/office/drawing/2014/main" val="3324191192"/>
                  </a:ext>
                </a:extLst>
              </a:tr>
              <a:tr h="599499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700" u="none" strike="noStrike">
                          <a:effectLst/>
                        </a:rPr>
                        <a:t>Island Rehabilitative Services Corp.</a:t>
                      </a:r>
                      <a:endParaRPr lang="en-US" sz="1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972" marR="14972" marT="1497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700" u="none" strike="noStrike">
                          <a:effectLst/>
                        </a:rPr>
                        <a:t>25 Fanning Street</a:t>
                      </a:r>
                      <a:endParaRPr lang="en-US" sz="1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972" marR="14972" marT="1497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700" u="none" strike="noStrike">
                          <a:effectLst/>
                        </a:rPr>
                        <a:t>Staten Island</a:t>
                      </a:r>
                      <a:endParaRPr lang="en-US" sz="1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972" marR="14972" marT="1497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700" u="none" strike="noStrike">
                          <a:effectLst/>
                        </a:rPr>
                        <a:t>NY</a:t>
                      </a:r>
                      <a:endParaRPr lang="en-US" sz="1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972" marR="14972" marT="1497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700" u="none" strike="noStrike">
                          <a:effectLst/>
                        </a:rPr>
                        <a:t>10314</a:t>
                      </a:r>
                      <a:endParaRPr lang="en-US" sz="1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972" marR="14972" marT="1497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700" u="none" strike="noStrike">
                          <a:effectLst/>
                        </a:rPr>
                        <a:t>(718) 987-5942</a:t>
                      </a:r>
                      <a:endParaRPr lang="en-US" sz="1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972" marR="14972" marT="14972" marB="0" anchor="b"/>
                </a:tc>
                <a:extLst>
                  <a:ext uri="{0D108BD9-81ED-4DB2-BD59-A6C34878D82A}">
                    <a16:rowId xmlns:a16="http://schemas.microsoft.com/office/drawing/2014/main" val="2397093085"/>
                  </a:ext>
                </a:extLst>
              </a:tr>
              <a:tr h="599499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700" u="none" strike="noStrike">
                          <a:effectLst/>
                        </a:rPr>
                        <a:t>Knickerbocker Dialysis, Inc. dba Richmond Kidney Center</a:t>
                      </a:r>
                      <a:endParaRPr lang="en-US" sz="1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972" marR="14972" marT="1497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700" u="none" strike="noStrike">
                          <a:effectLst/>
                        </a:rPr>
                        <a:t>1366 Victory Boulevard</a:t>
                      </a:r>
                      <a:endParaRPr lang="en-US" sz="1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972" marR="14972" marT="1497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700" u="none" strike="noStrike">
                          <a:effectLst/>
                        </a:rPr>
                        <a:t>Staten Island</a:t>
                      </a:r>
                      <a:endParaRPr lang="en-US" sz="1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972" marR="14972" marT="1497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700" u="none" strike="noStrike">
                          <a:effectLst/>
                        </a:rPr>
                        <a:t>NY</a:t>
                      </a:r>
                      <a:endParaRPr lang="en-US" sz="1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972" marR="14972" marT="1497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700" u="none" strike="noStrike">
                          <a:effectLst/>
                        </a:rPr>
                        <a:t>10301</a:t>
                      </a:r>
                      <a:endParaRPr lang="en-US" sz="1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972" marR="14972" marT="1497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700" u="none" strike="noStrike">
                          <a:effectLst/>
                        </a:rPr>
                        <a:t>(718) 816-6200</a:t>
                      </a:r>
                      <a:endParaRPr lang="en-US" sz="1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972" marR="14972" marT="14972" marB="0" anchor="b"/>
                </a:tc>
                <a:extLst>
                  <a:ext uri="{0D108BD9-81ED-4DB2-BD59-A6C34878D82A}">
                    <a16:rowId xmlns:a16="http://schemas.microsoft.com/office/drawing/2014/main" val="3311058476"/>
                  </a:ext>
                </a:extLst>
              </a:tr>
              <a:tr h="86301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700" u="none" strike="noStrike">
                          <a:effectLst/>
                        </a:rPr>
                        <a:t>Knickerbocker Dialysis, Inc. dba Staten Island Dialysis Center</a:t>
                      </a:r>
                      <a:endParaRPr lang="en-US" sz="1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972" marR="14972" marT="1497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700" u="none" strike="noStrike">
                          <a:effectLst/>
                        </a:rPr>
                        <a:t>1139 Hylan Boulevard</a:t>
                      </a:r>
                      <a:endParaRPr lang="en-US" sz="1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972" marR="14972" marT="1497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700" u="none" strike="noStrike">
                          <a:effectLst/>
                        </a:rPr>
                        <a:t>Staten Island</a:t>
                      </a:r>
                      <a:endParaRPr lang="en-US" sz="1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972" marR="14972" marT="1497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700" u="none" strike="noStrike">
                          <a:effectLst/>
                        </a:rPr>
                        <a:t>NY</a:t>
                      </a:r>
                      <a:endParaRPr lang="en-US" sz="1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972" marR="14972" marT="1497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700" u="none" strike="noStrike">
                          <a:effectLst/>
                        </a:rPr>
                        <a:t>10305</a:t>
                      </a:r>
                      <a:endParaRPr lang="en-US" sz="1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972" marR="14972" marT="1497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700" u="none" strike="noStrike">
                          <a:effectLst/>
                        </a:rPr>
                        <a:t>(718) 816-4913</a:t>
                      </a:r>
                      <a:endParaRPr lang="en-US" sz="1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972" marR="14972" marT="14972" marB="0" anchor="b"/>
                </a:tc>
                <a:extLst>
                  <a:ext uri="{0D108BD9-81ED-4DB2-BD59-A6C34878D82A}">
                    <a16:rowId xmlns:a16="http://schemas.microsoft.com/office/drawing/2014/main" val="3030337069"/>
                  </a:ext>
                </a:extLst>
              </a:tr>
              <a:tr h="86301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700" u="none" strike="noStrike">
                          <a:effectLst/>
                        </a:rPr>
                        <a:t>Knickerbocker Dialysis, Inc. dba Staten Island South Dialysis</a:t>
                      </a:r>
                      <a:endParaRPr lang="en-US" sz="1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972" marR="14972" marT="1497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700" u="none" strike="noStrike">
                          <a:effectLst/>
                        </a:rPr>
                        <a:t>30 Sneden Avenue</a:t>
                      </a:r>
                      <a:endParaRPr lang="en-US" sz="1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972" marR="14972" marT="1497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700" u="none" strike="noStrike">
                          <a:effectLst/>
                        </a:rPr>
                        <a:t>Staten Island</a:t>
                      </a:r>
                      <a:endParaRPr lang="en-US" sz="1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972" marR="14972" marT="1497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700" u="none" strike="noStrike">
                          <a:effectLst/>
                        </a:rPr>
                        <a:t>NY</a:t>
                      </a:r>
                      <a:endParaRPr lang="en-US" sz="1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972" marR="14972" marT="1497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700" u="none" strike="noStrike">
                          <a:effectLst/>
                        </a:rPr>
                        <a:t>10312-3637</a:t>
                      </a:r>
                      <a:endParaRPr lang="en-US" sz="1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972" marR="14972" marT="1497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700" u="none" strike="noStrike">
                          <a:effectLst/>
                        </a:rPr>
                        <a:t>(718) 356-2678</a:t>
                      </a:r>
                      <a:endParaRPr lang="en-US" sz="1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972" marR="14972" marT="14972" marB="0" anchor="b"/>
                </a:tc>
                <a:extLst>
                  <a:ext uri="{0D108BD9-81ED-4DB2-BD59-A6C34878D82A}">
                    <a16:rowId xmlns:a16="http://schemas.microsoft.com/office/drawing/2014/main" val="104628498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30368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heme/theme1.xml><?xml version="1.0" encoding="utf-8"?>
<a:theme xmlns:a="http://schemas.openxmlformats.org/drawingml/2006/main" name="MPH Gold">
  <a:themeElements>
    <a:clrScheme name="Metro Gold">
      <a:dk1>
        <a:srgbClr val="00080E"/>
      </a:dk1>
      <a:lt1>
        <a:sysClr val="window" lastClr="FFFFFF"/>
      </a:lt1>
      <a:dk2>
        <a:srgbClr val="FFCF31"/>
      </a:dk2>
      <a:lt2>
        <a:srgbClr val="FFFFFF"/>
      </a:lt2>
      <a:accent1>
        <a:srgbClr val="D8AE30"/>
      </a:accent1>
      <a:accent2>
        <a:srgbClr val="B1852C"/>
      </a:accent2>
      <a:accent3>
        <a:srgbClr val="9C6126"/>
      </a:accent3>
      <a:accent4>
        <a:srgbClr val="ED1C26"/>
      </a:accent4>
      <a:accent5>
        <a:srgbClr val="F15F23"/>
      </a:accent5>
      <a:accent6>
        <a:srgbClr val="A8CF3B"/>
      </a:accent6>
      <a:hlink>
        <a:srgbClr val="0065B2"/>
      </a:hlink>
      <a:folHlink>
        <a:srgbClr val="8E459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0AF74F13E85724B81AF0B016F2643B3" ma:contentTypeVersion="12" ma:contentTypeDescription="Create a new document." ma:contentTypeScope="" ma:versionID="3c16cf388bdcbfd6c8e374fea6ef880c">
  <xsd:schema xmlns:xsd="http://www.w3.org/2001/XMLSchema" xmlns:xs="http://www.w3.org/2001/XMLSchema" xmlns:p="http://schemas.microsoft.com/office/2006/metadata/properties" xmlns:ns2="0ec2e2e4-9c67-4687-b73c-75464b9f5617" xmlns:ns3="30990d6e-d303-4dd4-a136-d7467752abaf" targetNamespace="http://schemas.microsoft.com/office/2006/metadata/properties" ma:root="true" ma:fieldsID="6248ca557861db03f9bd0b1749e02a33" ns2:_="" ns3:_="">
    <xsd:import namespace="0ec2e2e4-9c67-4687-b73c-75464b9f5617"/>
    <xsd:import namespace="30990d6e-d303-4dd4-a136-d7467752aba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c2e2e4-9c67-4687-b73c-75464b9f561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7b16d5d7-de8b-49ef-b70f-9480b70c9ba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0990d6e-d303-4dd4-a136-d7467752abaf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bedb52d1-f144-42e4-a2e5-e3d03ac54b21}" ma:internalName="TaxCatchAll" ma:showField="CatchAllData" ma:web="30990d6e-d303-4dd4-a136-d7467752aba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30990d6e-d303-4dd4-a136-d7467752abaf" xsi:nil="true"/>
    <lcf76f155ced4ddcb4097134ff3c332f xmlns="0ec2e2e4-9c67-4687-b73c-75464b9f5617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EDC35ADB-F9C6-4ABA-8438-5D6764FEA85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19196CF-FF1F-416E-A799-61145F35F5F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ec2e2e4-9c67-4687-b73c-75464b9f5617"/>
    <ds:schemaRef ds:uri="30990d6e-d303-4dd4-a136-d7467752aba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64A2159-93CB-4A02-B11F-40008FF2262E}">
  <ds:schemaRefs>
    <ds:schemaRef ds:uri="0ec2e2e4-9c67-4687-b73c-75464b9f5617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www.w3.org/XML/1998/namespace"/>
    <ds:schemaRef ds:uri="http://schemas.openxmlformats.org/package/2006/metadata/core-properties"/>
    <ds:schemaRef ds:uri="http://purl.org/dc/terms/"/>
    <ds:schemaRef ds:uri="http://purl.org/dc/dcmitype/"/>
    <ds:schemaRef ds:uri="30990d6e-d303-4dd4-a136-d7467752abaf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692</TotalTime>
  <Words>1642</Words>
  <Application>Microsoft Office PowerPoint</Application>
  <PresentationFormat>Widescreen</PresentationFormat>
  <Paragraphs>570</Paragraphs>
  <Slides>8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2" baseType="lpstr">
      <vt:lpstr>Arial</vt:lpstr>
      <vt:lpstr>Calibri</vt:lpstr>
      <vt:lpstr>Wingdings</vt:lpstr>
      <vt:lpstr>MPH Gold</vt:lpstr>
      <vt:lpstr>List of Participating Dialysis Center</vt:lpstr>
      <vt:lpstr>List of Participating Dialysis Center</vt:lpstr>
      <vt:lpstr>List of Participating Dialysis Center</vt:lpstr>
      <vt:lpstr>List of Participating Dialysis Center</vt:lpstr>
      <vt:lpstr>List of Participating Dialysis Center</vt:lpstr>
      <vt:lpstr>List of Participating Dialysis Center</vt:lpstr>
      <vt:lpstr>List of Participating Dialysis Center</vt:lpstr>
      <vt:lpstr>List of Participating Dialysis Cent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Laster-Clark, Elizabeth</cp:lastModifiedBy>
  <cp:revision>235</cp:revision>
  <cp:lastPrinted>2021-12-16T20:37:50Z</cp:lastPrinted>
  <dcterms:created xsi:type="dcterms:W3CDTF">2019-12-31T17:35:15Z</dcterms:created>
  <dcterms:modified xsi:type="dcterms:W3CDTF">2026-03-17T22:16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0AF74F13E85724B81AF0B016F2643B3</vt:lpwstr>
  </property>
</Properties>
</file>